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9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0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1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2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3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4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5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16.xml" ContentType="application/vnd.openxmlformats-officedocument.theme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17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8.xml" ContentType="application/vnd.openxmlformats-officedocument.theme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9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20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21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14" r:id="rId1"/>
    <p:sldMasterId id="2147483894" r:id="rId2"/>
    <p:sldMasterId id="2147483908" r:id="rId3"/>
    <p:sldMasterId id="2147483932" r:id="rId4"/>
    <p:sldMasterId id="2147484000" r:id="rId5"/>
    <p:sldMasterId id="2147484042" r:id="rId6"/>
    <p:sldMasterId id="2147484120" r:id="rId7"/>
    <p:sldMasterId id="2147484175" r:id="rId8"/>
    <p:sldMasterId id="2147484189" r:id="rId9"/>
    <p:sldMasterId id="2147484291" r:id="rId10"/>
    <p:sldMasterId id="2147484305" r:id="rId11"/>
    <p:sldMasterId id="2147484340" r:id="rId12"/>
    <p:sldMasterId id="2147484424" r:id="rId13"/>
    <p:sldMasterId id="2147484477" r:id="rId14"/>
    <p:sldMasterId id="2147484513" r:id="rId15"/>
    <p:sldMasterId id="2147484533" r:id="rId16"/>
    <p:sldMasterId id="2147484549" r:id="rId17"/>
    <p:sldMasterId id="2147484561" r:id="rId18"/>
    <p:sldMasterId id="2147484597" r:id="rId19"/>
    <p:sldMasterId id="2147484673" r:id="rId20"/>
    <p:sldMasterId id="2147484810" r:id="rId21"/>
    <p:sldMasterId id="2147484822" r:id="rId22"/>
  </p:sldMasterIdLst>
  <p:notesMasterIdLst>
    <p:notesMasterId r:id="rId29"/>
  </p:notesMasterIdLst>
  <p:handoutMasterIdLst>
    <p:handoutMasterId r:id="rId30"/>
  </p:handoutMasterIdLst>
  <p:sldIdLst>
    <p:sldId id="806" r:id="rId23"/>
    <p:sldId id="861" r:id="rId24"/>
    <p:sldId id="880" r:id="rId25"/>
    <p:sldId id="878" r:id="rId26"/>
    <p:sldId id="881" r:id="rId27"/>
    <p:sldId id="883" r:id="rId28"/>
  </p:sldIdLst>
  <p:sldSz cx="12801600" cy="9601200" type="A3"/>
  <p:notesSz cx="7102475" cy="10233025"/>
  <p:custDataLst>
    <p:tags r:id="rId31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640003" algn="l" rtl="0" fontAlgn="base">
      <a:spcBef>
        <a:spcPct val="0"/>
      </a:spcBef>
      <a:spcAft>
        <a:spcPct val="0"/>
      </a:spcAft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1280006" algn="l" rtl="0" fontAlgn="base">
      <a:spcBef>
        <a:spcPct val="0"/>
      </a:spcBef>
      <a:spcAft>
        <a:spcPct val="0"/>
      </a:spcAft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920009" algn="l" rtl="0" fontAlgn="base">
      <a:spcBef>
        <a:spcPct val="0"/>
      </a:spcBef>
      <a:spcAft>
        <a:spcPct val="0"/>
      </a:spcAft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2560013" algn="l" rtl="0" fontAlgn="base">
      <a:spcBef>
        <a:spcPct val="0"/>
      </a:spcBef>
      <a:spcAft>
        <a:spcPct val="0"/>
      </a:spcAft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3200016" algn="l" defTabSz="1280006" rtl="0" eaLnBrk="1" latinLnBrk="0" hangingPunct="1"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3840019" algn="l" defTabSz="1280006" rtl="0" eaLnBrk="1" latinLnBrk="0" hangingPunct="1"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4480022" algn="l" defTabSz="1280006" rtl="0" eaLnBrk="1" latinLnBrk="0" hangingPunct="1"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5120025" algn="l" defTabSz="1280006" rtl="0" eaLnBrk="1" latinLnBrk="0" hangingPunct="1">
      <a:defRPr sz="3360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26" userDrawn="1">
          <p15:clr>
            <a:srgbClr val="A4A3A4"/>
          </p15:clr>
        </p15:guide>
        <p15:guide id="2" pos="40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9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5" orient="horz" pos="3217" userDrawn="1">
          <p15:clr>
            <a:srgbClr val="A4A3A4"/>
          </p15:clr>
        </p15:guide>
        <p15:guide id="6" orient="horz" pos="3224" userDrawn="1">
          <p15:clr>
            <a:srgbClr val="A4A3A4"/>
          </p15:clr>
        </p15:guide>
        <p15:guide id="7" pos="2236" userDrawn="1">
          <p15:clr>
            <a:srgbClr val="A4A3A4"/>
          </p15:clr>
        </p15:guide>
        <p15:guide id="8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mmer, Michael" initials="MG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141F1"/>
    <a:srgbClr val="F53DB8"/>
    <a:srgbClr val="F9EB39"/>
    <a:srgbClr val="7575D1"/>
    <a:srgbClr val="92D050"/>
    <a:srgbClr val="00599D"/>
    <a:srgbClr val="DCDCDC"/>
    <a:srgbClr val="00B0F0"/>
    <a:srgbClr val="9C9C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062" autoAdjust="0"/>
    <p:restoredTop sz="98805" autoAdjust="0"/>
  </p:normalViewPr>
  <p:slideViewPr>
    <p:cSldViewPr>
      <p:cViewPr varScale="1">
        <p:scale>
          <a:sx n="87" d="100"/>
          <a:sy n="87" d="100"/>
        </p:scale>
        <p:origin x="1788" y="60"/>
      </p:cViewPr>
      <p:guideLst>
        <p:guide orient="horz" pos="926"/>
        <p:guide pos="40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>
      <p:cViewPr varScale="1">
        <p:scale>
          <a:sx n="93" d="100"/>
          <a:sy n="93" d="100"/>
        </p:scale>
        <p:origin x="-3180" y="-108"/>
      </p:cViewPr>
      <p:guideLst>
        <p:guide orient="horz" pos="3119"/>
        <p:guide pos="2141"/>
        <p:guide orient="horz" pos="3128"/>
        <p:guide orient="horz" pos="3217"/>
        <p:guide orient="horz" pos="3224"/>
        <p:guide pos="2236"/>
        <p:guide pos="2237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/>
          <a:lstStyle>
            <a:lvl1pPr algn="l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9719737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 anchor="b"/>
          <a:lstStyle>
            <a:lvl1pPr algn="l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529" y="9719737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 anchor="b"/>
          <a:lstStyle>
            <a:lvl1pPr algn="r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0C127CCA-640B-45E9-B580-CFFA475EE7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4022529" y="3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/>
          <a:lstStyle>
            <a:lvl1pPr algn="r">
              <a:defRPr sz="1000"/>
            </a:lvl1pPr>
          </a:lstStyle>
          <a:p>
            <a:fld id="{3C811A84-EB42-4371-B542-0F3581C7F1E3}" type="datetimeFigureOut">
              <a:rPr lang="en-GB" smtClean="0"/>
              <a:pPr/>
              <a:t>05/06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1485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/>
          <a:lstStyle>
            <a:lvl1pPr algn="l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529" y="3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/>
          <a:lstStyle>
            <a:lvl1pPr algn="r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193B355A-11A6-4559-BE2F-D1FFB476E1CF}" type="datetimeFigureOut">
              <a:rPr lang="en-US"/>
              <a:pPr>
                <a:defRPr/>
              </a:pPr>
              <a:t>6/5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9938"/>
            <a:ext cx="5114925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8" tIns="46244" rIns="92488" bIns="46244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8"/>
            <a:ext cx="5681980" cy="4604861"/>
          </a:xfrm>
          <a:prstGeom prst="rect">
            <a:avLst/>
          </a:prstGeom>
        </p:spPr>
        <p:txBody>
          <a:bodyPr vert="horz" lIns="92488" tIns="46244" rIns="92488" bIns="46244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719737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 anchor="b"/>
          <a:lstStyle>
            <a:lvl1pPr algn="l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529" y="9719737"/>
            <a:ext cx="3078295" cy="511653"/>
          </a:xfrm>
          <a:prstGeom prst="rect">
            <a:avLst/>
          </a:prstGeom>
        </p:spPr>
        <p:txBody>
          <a:bodyPr vert="horz" lIns="92488" tIns="46244" rIns="92488" bIns="46244" rtlCol="0" anchor="b"/>
          <a:lstStyle>
            <a:lvl1pPr algn="r">
              <a:defRPr sz="10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331E49FD-723B-46FD-B982-E0D8DA5C057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52218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03" algn="l" rtl="0" eaLnBrk="0" fontAlgn="base" hangingPunct="0">
      <a:spcBef>
        <a:spcPct val="30000"/>
      </a:spcBef>
      <a:spcAft>
        <a:spcPct val="0"/>
      </a:spcAft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006" algn="l" rtl="0" eaLnBrk="0" fontAlgn="base" hangingPunct="0">
      <a:spcBef>
        <a:spcPct val="30000"/>
      </a:spcBef>
      <a:spcAft>
        <a:spcPct val="0"/>
      </a:spcAft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009" algn="l" rtl="0" eaLnBrk="0" fontAlgn="base" hangingPunct="0">
      <a:spcBef>
        <a:spcPct val="30000"/>
      </a:spcBef>
      <a:spcAft>
        <a:spcPct val="0"/>
      </a:spcAft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013" algn="l" rtl="0" eaLnBrk="0" fontAlgn="base" hangingPunct="0">
      <a:spcBef>
        <a:spcPct val="30000"/>
      </a:spcBef>
      <a:spcAft>
        <a:spcPct val="0"/>
      </a:spcAft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016" algn="l" defTabSz="1280006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019" algn="l" defTabSz="1280006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022" algn="l" defTabSz="1280006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025" algn="l" defTabSz="1280006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jpeg"/><Relationship Id="rId4" Type="http://schemas.openxmlformats.org/officeDocument/2006/relationships/image" Target="../media/image8.png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Relationship Id="rId5" Type="http://schemas.openxmlformats.org/officeDocument/2006/relationships/image" Target="../media/image4.jpeg"/><Relationship Id="rId4" Type="http://schemas.openxmlformats.org/officeDocument/2006/relationships/image" Target="../media/image8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0.xml"/><Relationship Id="rId5" Type="http://schemas.openxmlformats.org/officeDocument/2006/relationships/image" Target="../media/image4.jpeg"/><Relationship Id="rId4" Type="http://schemas.openxmlformats.org/officeDocument/2006/relationships/image" Target="../media/image8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4.jpeg"/><Relationship Id="rId4" Type="http://schemas.openxmlformats.org/officeDocument/2006/relationships/image" Target="../media/image8.pn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jpeg"/><Relationship Id="rId4" Type="http://schemas.openxmlformats.org/officeDocument/2006/relationships/image" Target="../media/image8.png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262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3262440"/>
      </p:ext>
    </p:extLst>
  </p:cSld>
  <p:clrMapOvr>
    <a:masterClrMapping/>
  </p:clrMapOvr>
  <p:transition spd="slow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298815"/>
      </p:ext>
    </p:extLst>
  </p:cSld>
  <p:clrMapOvr>
    <a:masterClrMapping/>
  </p:clrMapOvr>
  <p:transition spd="slow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696105"/>
      </p:ext>
    </p:extLst>
  </p:cSld>
  <p:clrMapOvr>
    <a:masterClrMapping/>
  </p:clrMapOvr>
  <p:transition spd="slow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4EAD-935E-4339-9ED5-94CC5FE4E31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58764"/>
      </p:ext>
    </p:extLst>
  </p:cSld>
  <p:clrMapOvr>
    <a:masterClrMapping/>
  </p:clrMapOvr>
  <p:transition spd="slow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516101"/>
      </p:ext>
    </p:extLst>
  </p:cSld>
  <p:clrMapOvr>
    <a:masterClrMapping/>
  </p:clrMapOvr>
  <p:transition spd="slow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130497"/>
      </p:ext>
    </p:extLst>
  </p:cSld>
  <p:clrMapOvr>
    <a:masterClrMapping/>
  </p:clrMapOvr>
  <p:transition spd="slow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838192"/>
      </p:ext>
    </p:extLst>
  </p:cSld>
  <p:clrMapOvr>
    <a:masterClrMapping/>
  </p:clrMapOvr>
  <p:transition spd="slow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77095"/>
      </p:ext>
    </p:extLst>
  </p:cSld>
  <p:clrMapOvr>
    <a:masterClrMapping/>
  </p:clrMapOvr>
  <p:transition spd="slow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836878"/>
      </p:ext>
    </p:extLst>
  </p:cSld>
  <p:clrMapOvr>
    <a:masterClrMapping/>
  </p:clrMapOvr>
  <p:transition spd="slow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581382"/>
      </p:ext>
    </p:extLst>
  </p:cSld>
  <p:clrMapOvr>
    <a:masterClrMapping/>
  </p:clrMapOvr>
  <p:transition spd="slow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69815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462604"/>
      </p:ext>
    </p:extLst>
  </p:cSld>
  <p:clrMapOvr>
    <a:masterClrMapping/>
  </p:clrMapOvr>
  <p:transition spd="slow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965812"/>
      </p:ext>
    </p:extLst>
  </p:cSld>
  <p:clrMapOvr>
    <a:masterClrMapping/>
  </p:clrMapOvr>
  <p:transition spd="slow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378247"/>
      </p:ext>
    </p:extLst>
  </p:cSld>
  <p:clrMapOvr>
    <a:masterClrMapping/>
  </p:clrMapOvr>
  <p:transition spd="slow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66700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65404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26973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 cstate="print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 cstate="print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 cstate="print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4698406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F3DADE-A981-4B56-92CD-5FF6B2BA6B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715156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74BCC9-8033-4C94-AA0C-2EA2A5C4584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588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5ED5A7-9E51-49B0-8E0B-F8D60A6CC97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32783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551AEB-D4EA-45AB-AE2A-DE4459BBF9C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96153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BF0BB6-2DB4-4C12-9E4D-4092419E5EA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10316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4FBB6D-5B18-41FA-A16D-0E0C9E0CF07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4711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6294946"/>
      </p:ext>
    </p:extLst>
  </p:cSld>
  <p:clrMapOvr>
    <a:masterClrMapping/>
  </p:clrMapOvr>
  <p:transition spd="slow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D6B233-B918-4B81-B78E-16A7FBB264C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33207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4FB4CD-2FE4-4BDF-AA74-5395269CFA3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60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526196-AE45-4439-B419-7300A1EE24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7054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02F9A8-C031-4036-8055-D12884EEF65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270726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A6B129-42D4-443C-85A5-1318607C7A1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342779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02275" y="1575753"/>
            <a:ext cx="12048172" cy="735869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A42542-6767-4627-8738-2F1C0110A3E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25459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410722"/>
      </p:ext>
    </p:extLst>
  </p:cSld>
  <p:clrMapOvr>
    <a:masterClrMapping/>
  </p:clrMapOvr>
  <p:transition spd="slow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99570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941465"/>
      </p:ext>
    </p:extLst>
  </p:cSld>
  <p:clrMapOvr>
    <a:masterClrMapping/>
  </p:clrMapOvr>
  <p:transition spd="slow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80659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509977"/>
      </p:ext>
    </p:extLst>
  </p:cSld>
  <p:clrMapOvr>
    <a:masterClrMapping/>
  </p:clrMapOvr>
  <p:transition spd="slow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54191"/>
      </p:ext>
    </p:extLst>
  </p:cSld>
  <p:clrMapOvr>
    <a:masterClrMapping/>
  </p:clrMapOvr>
  <p:transition spd="slow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701883"/>
      </p:ext>
    </p:extLst>
  </p:cSld>
  <p:clrMapOvr>
    <a:masterClrMapping/>
  </p:clrMapOvr>
  <p:transition spd="slow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4EAD-935E-4339-9ED5-94CC5FE4E31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586049"/>
      </p:ext>
    </p:extLst>
  </p:cSld>
  <p:clrMapOvr>
    <a:masterClrMapping/>
  </p:clrMapOvr>
  <p:transition spd="slow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61815"/>
      </p:ext>
    </p:extLst>
  </p:cSld>
  <p:clrMapOvr>
    <a:masterClrMapping/>
  </p:clrMapOvr>
  <p:transition spd="slow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486436"/>
      </p:ext>
    </p:extLst>
  </p:cSld>
  <p:clrMapOvr>
    <a:masterClrMapping/>
  </p:clrMapOvr>
  <p:transition spd="slow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345671"/>
      </p:ext>
    </p:extLst>
  </p:cSld>
  <p:clrMapOvr>
    <a:masterClrMapping/>
  </p:clrMapOvr>
  <p:transition spd="slow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039074"/>
      </p:ext>
    </p:extLst>
  </p:cSld>
  <p:clrMapOvr>
    <a:masterClrMapping/>
  </p:clrMapOvr>
  <p:transition spd="slow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935785"/>
      </p:ext>
    </p:extLst>
  </p:cSld>
  <p:clrMapOvr>
    <a:masterClrMapping/>
  </p:clrMapOvr>
  <p:transition spd="slow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436932"/>
      </p:ext>
    </p:extLst>
  </p:cSld>
  <p:clrMapOvr>
    <a:masterClrMapping/>
  </p:clrMapOvr>
  <p:transition spd="slow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961957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8352159"/>
      </p:ext>
    </p:extLst>
  </p:cSld>
  <p:clrMapOvr>
    <a:masterClrMapping/>
  </p:clrMapOvr>
  <p:transition spd="slow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718612"/>
      </p:ext>
    </p:extLst>
  </p:cSld>
  <p:clrMapOvr>
    <a:masterClrMapping/>
  </p:clrMapOvr>
  <p:transition spd="slow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019023"/>
      </p:ext>
    </p:extLst>
  </p:cSld>
  <p:clrMapOvr>
    <a:masterClrMapping/>
  </p:clrMapOvr>
  <p:transition spd="slow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2576401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80C5F-91F8-4D9E-992B-AB4890D37B3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73622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92DFF9-EF34-4ED7-BE01-3A55F667820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439797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E61EA-3A03-46DD-AAE8-1A17E1E952A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088381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DE347F-9A87-4569-8D42-5C5A73D19FB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865531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8973CA-51FF-4640-9782-5D9B061D4F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224821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0D9E70-8CC1-4ADF-A81F-463470EBDCC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587889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2D080-53A6-4968-B593-00A082E0CF1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30042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8966329"/>
      </p:ext>
    </p:extLst>
  </p:cSld>
  <p:clrMapOvr>
    <a:masterClrMapping/>
  </p:clrMapOvr>
  <p:transition spd="slow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3F0C53-794E-4E4D-ACB6-990FABC196C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01923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2EFFB6-C9B5-4E50-9FAB-F10FD8654AA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115017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6904D7-0DA9-4F4E-A1AC-10D36499AE1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663307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4B5323-B2F1-41CD-800C-32EE41C1F2E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951472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02275" y="1575753"/>
            <a:ext cx="12048172" cy="735869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EABFD2-0884-4F48-84CF-58665D5E368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826049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8420"/>
      </p:ext>
    </p:extLst>
  </p:cSld>
  <p:clrMapOvr>
    <a:masterClrMapping/>
  </p:clrMapOvr>
  <p:transition spd="slow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751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41125"/>
      </p:ext>
    </p:extLst>
  </p:cSld>
  <p:clrMapOvr>
    <a:masterClrMapping/>
  </p:clrMapOvr>
  <p:transition spd="slow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836101"/>
      </p:ext>
    </p:extLst>
  </p:cSld>
  <p:clrMapOvr>
    <a:masterClrMapping/>
  </p:clrMapOvr>
  <p:transition spd="slow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138143"/>
      </p:ext>
    </p:extLst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66700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65404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752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117687"/>
      </p:ext>
    </p:extLst>
  </p:cSld>
  <p:clrMapOvr>
    <a:masterClrMapping/>
  </p:clrMapOvr>
  <p:transition spd="slow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4EAD-935E-4339-9ED5-94CC5FE4E31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503700"/>
      </p:ext>
    </p:extLst>
  </p:cSld>
  <p:clrMapOvr>
    <a:masterClrMapping/>
  </p:clrMapOvr>
  <p:transition spd="slow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406589"/>
      </p:ext>
    </p:extLst>
  </p:cSld>
  <p:clrMapOvr>
    <a:masterClrMapping/>
  </p:clrMapOvr>
  <p:transition spd="slow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133913"/>
      </p:ext>
    </p:extLst>
  </p:cSld>
  <p:clrMapOvr>
    <a:masterClrMapping/>
  </p:clrMapOvr>
  <p:transition spd="slow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965209"/>
      </p:ext>
    </p:extLst>
  </p:cSld>
  <p:clrMapOvr>
    <a:masterClrMapping/>
  </p:clrMapOvr>
  <p:transition spd="slow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731262"/>
      </p:ext>
    </p:extLst>
  </p:cSld>
  <p:clrMapOvr>
    <a:masterClrMapping/>
  </p:clrMapOvr>
  <p:transition spd="slow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281455"/>
      </p:ext>
    </p:extLst>
  </p:cSld>
  <p:clrMapOvr>
    <a:masterClrMapping/>
  </p:clrMapOvr>
  <p:transition spd="slow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229908"/>
      </p:ext>
    </p:extLst>
  </p:cSld>
  <p:clrMapOvr>
    <a:masterClrMapping/>
  </p:clrMapOvr>
  <p:transition spd="slow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206092"/>
      </p:ext>
    </p:extLst>
  </p:cSld>
  <p:clrMapOvr>
    <a:masterClrMapping/>
  </p:clrMapOvr>
  <p:transition spd="slow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974013"/>
      </p:ext>
    </p:extLst>
  </p:cSld>
  <p:clrMapOvr>
    <a:masterClrMapping/>
  </p:clrMapOvr>
  <p:transition spd="slow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0CA6F99-9FFB-4569-8173-FBBB34EA2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585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4480560" y="-9076"/>
            <a:ext cx="4151630" cy="270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endParaRPr lang="en-GB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8733" y="24375"/>
            <a:ext cx="3577809" cy="2683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20577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577734"/>
      </p:ext>
    </p:extLst>
  </p:cSld>
  <p:clrMapOvr>
    <a:masterClrMapping/>
  </p:clrMapOvr>
  <p:transition spd="slow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1CAA495-3737-4C5B-A1F0-2AD2701FEE1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005890"/>
      </p:ext>
    </p:extLst>
  </p:cSld>
  <p:clrMapOvr>
    <a:masterClrMapping/>
  </p:clrMapOvr>
  <p:transition spd="slow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849377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234751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07D51-02AF-4D1C-9176-05ED4CC8EC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614023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AF7D3-A6F5-4055-9635-1E4600BABE1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796836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9ECF8-9783-4E7B-8096-7ADFB4E464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88734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0D31-0704-4AEC-8EDB-63E3087B11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544855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919FA-F87A-4B42-A1CD-0E749B3E7D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44634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6C4B83-5714-4E51-B0B4-92E9DB4C7C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75479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69476-6003-47DC-8B74-0BB465662B3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0939850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D074A-3E24-4F58-B20C-32C299F94A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45692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0CE02-E0C1-479C-9C89-82464D2070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23548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469845-D875-4C8E-A5FF-F5E2C1DC7A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459228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595795"/>
      </p:ext>
    </p:extLst>
  </p:cSld>
  <p:clrMapOvr>
    <a:masterClrMapping/>
  </p:clrMapOvr>
  <p:transition spd="slow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4119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455119"/>
      </p:ext>
    </p:extLst>
  </p:cSld>
  <p:clrMapOvr>
    <a:masterClrMapping/>
  </p:clrMapOvr>
  <p:transition spd="slow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685964"/>
      </p:ext>
    </p:extLst>
  </p:cSld>
  <p:clrMapOvr>
    <a:masterClrMapping/>
  </p:clrMapOvr>
  <p:transition spd="slow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14518"/>
      </p:ext>
    </p:extLst>
  </p:cSld>
  <p:clrMapOvr>
    <a:masterClrMapping/>
  </p:clrMapOvr>
  <p:transition spd="slow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266654"/>
      </p:ext>
    </p:extLst>
  </p:cSld>
  <p:clrMapOvr>
    <a:masterClrMapping/>
  </p:clrMapOvr>
  <p:transition spd="slow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4EAD-935E-4339-9ED5-94CC5FE4E31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871638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38491-D1F0-407F-8B0D-D903EA8FEFB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8636163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38674"/>
      </p:ext>
    </p:extLst>
  </p:cSld>
  <p:clrMapOvr>
    <a:masterClrMapping/>
  </p:clrMapOvr>
  <p:transition spd="slow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362004"/>
      </p:ext>
    </p:extLst>
  </p:cSld>
  <p:clrMapOvr>
    <a:masterClrMapping/>
  </p:clrMapOvr>
  <p:transition spd="slow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063293"/>
      </p:ext>
    </p:extLst>
  </p:cSld>
  <p:clrMapOvr>
    <a:masterClrMapping/>
  </p:clrMapOvr>
  <p:transition spd="slow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003"/>
      </p:ext>
    </p:extLst>
  </p:cSld>
  <p:clrMapOvr>
    <a:masterClrMapping/>
  </p:clrMapOvr>
  <p:transition spd="slow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256457"/>
      </p:ext>
    </p:extLst>
  </p:cSld>
  <p:clrMapOvr>
    <a:masterClrMapping/>
  </p:clrMapOvr>
  <p:transition spd="slow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848657"/>
      </p:ext>
    </p:extLst>
  </p:cSld>
  <p:clrMapOvr>
    <a:masterClrMapping/>
  </p:clrMapOvr>
  <p:transition spd="slow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437455"/>
      </p:ext>
    </p:extLst>
  </p:cSld>
  <p:clrMapOvr>
    <a:masterClrMapping/>
  </p:clrMapOvr>
  <p:transition spd="slow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208763"/>
      </p:ext>
    </p:extLst>
  </p:cSld>
  <p:clrMapOvr>
    <a:masterClrMapping/>
  </p:clrMapOvr>
  <p:transition spd="slow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628031"/>
      </p:ext>
    </p:extLst>
  </p:cSld>
  <p:clrMapOvr>
    <a:masterClrMapping/>
  </p:clrMapOvr>
  <p:transition spd="slow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425704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61826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680"/>
            </a:lvl1pPr>
          </a:lstStyle>
          <a:p>
            <a:pPr>
              <a:defRPr/>
            </a:pPr>
            <a:endParaRPr lang="de-DE" sz="154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9FADF-0E9A-4F92-AF26-3F45EF9C938A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0224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1CAA495-3737-4C5B-A1F0-2AD2701FEE1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827009"/>
      </p:ext>
    </p:extLst>
  </p:cSld>
  <p:clrMapOvr>
    <a:masterClrMapping/>
  </p:clrMapOvr>
  <p:transition spd="slow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40080" y="2240282"/>
            <a:ext cx="5654040" cy="63363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240280"/>
            <a:ext cx="5654040" cy="30603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514025"/>
            <a:ext cx="5654040" cy="30626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7250615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8895" y="3238183"/>
            <a:ext cx="12801600" cy="6400800"/>
          </a:xfrm>
          <a:prstGeom prst="rect">
            <a:avLst/>
          </a:prstGeom>
          <a:solidFill>
            <a:srgbClr val="005B8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en-US" sz="4704">
              <a:solidFill>
                <a:srgbClr val="3A6F8A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0" y="0"/>
            <a:ext cx="177800" cy="9601200"/>
            <a:chOff x="0" y="0"/>
            <a:chExt cx="80" cy="4320"/>
          </a:xfrm>
        </p:grpSpPr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1" y="0"/>
              <a:ext cx="79" cy="1440"/>
            </a:xfrm>
            <a:prstGeom prst="rect">
              <a:avLst/>
            </a:prstGeom>
            <a:solidFill>
              <a:srgbClr val="B9B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0" y="1440"/>
              <a:ext cx="79" cy="1440"/>
            </a:xfrm>
            <a:prstGeom prst="rect">
              <a:avLst/>
            </a:prstGeom>
            <a:solidFill>
              <a:srgbClr val="DCDCD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FFFFFF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2880"/>
              <a:ext cx="79" cy="1440"/>
            </a:xfrm>
            <a:prstGeom prst="rect">
              <a:avLst/>
            </a:prstGeom>
            <a:solidFill>
              <a:srgbClr val="51535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8" name="Group 16"/>
          <p:cNvGrpSpPr>
            <a:grpSpLocks/>
          </p:cNvGrpSpPr>
          <p:nvPr userDrawn="1"/>
        </p:nvGrpSpPr>
        <p:grpSpPr bwMode="auto">
          <a:xfrm>
            <a:off x="160020" y="0"/>
            <a:ext cx="177800" cy="9601200"/>
            <a:chOff x="72" y="0"/>
            <a:chExt cx="80" cy="4320"/>
          </a:xfrm>
        </p:grpSpPr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73" y="0"/>
              <a:ext cx="79" cy="1440"/>
            </a:xfrm>
            <a:prstGeom prst="rect">
              <a:avLst/>
            </a:prstGeom>
            <a:solidFill>
              <a:srgbClr val="005B8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72" y="1440"/>
              <a:ext cx="79" cy="144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FFFFFF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72" y="2880"/>
              <a:ext cx="79" cy="1440"/>
            </a:xfrm>
            <a:prstGeom prst="rect">
              <a:avLst/>
            </a:prstGeom>
            <a:solidFill>
              <a:srgbClr val="DCDCD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1066800" y="8883247"/>
            <a:ext cx="7823200" cy="393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960" dirty="0">
                <a:solidFill>
                  <a:srgbClr val="F4F4F4"/>
                </a:solidFill>
                <a:latin typeface="Arial" charset="0"/>
                <a:ea typeface="ＭＳ Ｐゴシック" charset="-128"/>
                <a:cs typeface="+mn-cs"/>
              </a:rPr>
              <a:t>J. Ritman		Forschungszentrum Juelich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auto">
          <a:xfrm>
            <a:off x="751207" y="3998279"/>
            <a:ext cx="11641455" cy="2505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4480" dirty="0">
                <a:solidFill>
                  <a:srgbClr val="FFFFFF"/>
                </a:solidFill>
                <a:latin typeface="Arial" charset="0"/>
                <a:cs typeface="+mn-cs"/>
              </a:rPr>
              <a:t>Status of the FAIR Experiments:</a:t>
            </a:r>
          </a:p>
          <a:p>
            <a:pPr>
              <a:spcBef>
                <a:spcPct val="50000"/>
              </a:spcBef>
              <a:defRPr/>
            </a:pPr>
            <a:r>
              <a:rPr lang="en-US" sz="4480" dirty="0">
                <a:solidFill>
                  <a:srgbClr val="FFFFFF"/>
                </a:solidFill>
                <a:latin typeface="Arial" charset="0"/>
                <a:cs typeface="+mn-cs"/>
              </a:rPr>
              <a:t>An overview from the </a:t>
            </a:r>
            <a:br>
              <a:rPr lang="en-US" sz="4480" dirty="0">
                <a:solidFill>
                  <a:srgbClr val="FFFFFF"/>
                </a:solidFill>
                <a:latin typeface="Arial" charset="0"/>
                <a:cs typeface="+mn-cs"/>
              </a:rPr>
            </a:br>
            <a:r>
              <a:rPr lang="en-US" sz="4480" dirty="0">
                <a:solidFill>
                  <a:srgbClr val="FFFFFF"/>
                </a:solidFill>
                <a:latin typeface="Arial" charset="0"/>
                <a:cs typeface="+mn-cs"/>
              </a:rPr>
              <a:t>Board of FAIR Collaborations</a:t>
            </a:r>
            <a:endParaRPr lang="en-US" sz="6720" dirty="0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pic>
        <p:nvPicPr>
          <p:cNvPr id="14" name="Picture 17" descr="Logo_FZ_Jülich_NEU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41080" y="355600"/>
            <a:ext cx="3520440" cy="1140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052373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08188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0121718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2014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506756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0007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63132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064048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680"/>
            </a:lvl1pPr>
          </a:lstStyle>
          <a:p>
            <a:pPr>
              <a:defRPr/>
            </a:pPr>
            <a:endParaRPr lang="de-DE" sz="154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C3C78-4A24-4D2A-9848-984D8FFFAEB6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907462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6043802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9178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121140" y="853440"/>
            <a:ext cx="2720340" cy="757428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960120" y="853440"/>
            <a:ext cx="7947660" cy="757428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6636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58924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66700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65404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99591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732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58726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F9D564-6C94-4C1D-9B4C-EF176FA60A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317480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5A46E6-0F71-4A4A-B4D4-27BEA909CFD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611077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611C08-4EFB-4E6D-8B38-70BD4E9448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52648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680"/>
            </a:lvl1pPr>
          </a:lstStyle>
          <a:p>
            <a:pPr>
              <a:defRPr/>
            </a:pPr>
            <a:endParaRPr lang="de-DE" sz="154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07E8FD-C0B5-4D83-BFF5-4470D15BFF4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347606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1B51B4-AFA9-48BC-9993-6973F1C17E4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838494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0E35BD-3D57-46D5-B3C2-3C834A29E82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172008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01F75D-B541-4457-8C1C-AB731E70274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043702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8907BA-D39E-48C1-9E9B-73EA9CD1E29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340528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F197B-18CE-48AF-85A9-01C2A056242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537250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8B1C4-6D64-42BA-A0AF-0ADBA5A9F1B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26480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072760-0EA2-4A60-8E7D-89A33A51F81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203528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7"/>
            <a:ext cx="10881360" cy="205803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/>
            </a:lvl1pPr>
            <a:lvl2pPr marL="640093" indent="0" algn="ctr">
              <a:buNone/>
              <a:defRPr/>
            </a:lvl2pPr>
            <a:lvl3pPr marL="1280185" indent="0" algn="ctr">
              <a:buNone/>
              <a:defRPr/>
            </a:lvl3pPr>
            <a:lvl4pPr marL="1920278" indent="0" algn="ctr">
              <a:buNone/>
              <a:defRPr/>
            </a:lvl4pPr>
            <a:lvl5pPr marL="2560372" indent="0" algn="ctr">
              <a:buNone/>
              <a:defRPr/>
            </a:lvl5pPr>
            <a:lvl6pPr marL="3200464" indent="0" algn="ctr">
              <a:buNone/>
              <a:defRPr/>
            </a:lvl6pPr>
            <a:lvl7pPr marL="3840557" indent="0" algn="ctr">
              <a:buNone/>
              <a:defRPr/>
            </a:lvl7pPr>
            <a:lvl8pPr marL="4480650" indent="0" algn="ctr">
              <a:buNone/>
              <a:defRPr/>
            </a:lvl8pPr>
            <a:lvl9pPr marL="5120742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27398F-4BFC-4F75-89DD-BF321799C58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096709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D29416-30C9-4734-9226-3674CFC2F7F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457084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F6BF56-E259-4218-9332-B2771BE3191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09463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FC501A-8D56-4CA1-AACE-95032C7BB4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0647555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F040D6-14D7-4343-B22E-896BE2FB858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18972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CE5778-7670-4506-BFCC-90775CB1B02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385677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A9011-3C53-44A9-ADF2-534918CE5F0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430807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1F0823-19FC-4A4A-8D71-D6FB9C490B6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968053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F6709D-9541-4351-8CB0-BE42EE09375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38460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FA6947-1980-48E6-9E40-6F538ECCFFD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536121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D9740C-745D-42A2-9EC6-3E3627587A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358030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B464CC-4A05-4D46-B170-A3FB3614804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33869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48895" y="3238183"/>
            <a:ext cx="12801600" cy="6400800"/>
          </a:xfrm>
          <a:prstGeom prst="rect">
            <a:avLst/>
          </a:prstGeom>
          <a:solidFill>
            <a:srgbClr val="005B8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en-US" sz="4704">
              <a:solidFill>
                <a:srgbClr val="3A6F8A"/>
              </a:solidFill>
              <a:latin typeface="Arial" charset="0"/>
              <a:ea typeface="ＭＳ Ｐゴシック" charset="-128"/>
            </a:endParaRPr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0" y="0"/>
            <a:ext cx="177800" cy="9601200"/>
            <a:chOff x="0" y="0"/>
            <a:chExt cx="80" cy="4320"/>
          </a:xfrm>
        </p:grpSpPr>
        <p:sp>
          <p:nvSpPr>
            <p:cNvPr id="4" name="Rectangle 4"/>
            <p:cNvSpPr>
              <a:spLocks noChangeArrowheads="1"/>
            </p:cNvSpPr>
            <p:nvPr userDrawn="1"/>
          </p:nvSpPr>
          <p:spPr bwMode="auto">
            <a:xfrm>
              <a:off x="1" y="0"/>
              <a:ext cx="79" cy="1440"/>
            </a:xfrm>
            <a:prstGeom prst="rect">
              <a:avLst/>
            </a:prstGeom>
            <a:solidFill>
              <a:srgbClr val="B9B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0" y="1440"/>
              <a:ext cx="79" cy="1440"/>
            </a:xfrm>
            <a:prstGeom prst="rect">
              <a:avLst/>
            </a:prstGeom>
            <a:solidFill>
              <a:srgbClr val="DCDCD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FFFFFF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 userDrawn="1"/>
          </p:nvSpPr>
          <p:spPr bwMode="auto">
            <a:xfrm>
              <a:off x="0" y="2880"/>
              <a:ext cx="79" cy="1440"/>
            </a:xfrm>
            <a:prstGeom prst="rect">
              <a:avLst/>
            </a:prstGeom>
            <a:solidFill>
              <a:srgbClr val="515355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</p:grpSp>
      <p:grpSp>
        <p:nvGrpSpPr>
          <p:cNvPr id="8" name="Group 16"/>
          <p:cNvGrpSpPr>
            <a:grpSpLocks/>
          </p:cNvGrpSpPr>
          <p:nvPr userDrawn="1"/>
        </p:nvGrpSpPr>
        <p:grpSpPr bwMode="auto">
          <a:xfrm>
            <a:off x="160020" y="0"/>
            <a:ext cx="177800" cy="9601200"/>
            <a:chOff x="72" y="0"/>
            <a:chExt cx="80" cy="4320"/>
          </a:xfrm>
        </p:grpSpPr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73" y="0"/>
              <a:ext cx="79" cy="1440"/>
            </a:xfrm>
            <a:prstGeom prst="rect">
              <a:avLst/>
            </a:prstGeom>
            <a:solidFill>
              <a:srgbClr val="005B8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/>
          </p:nvSpPr>
          <p:spPr bwMode="auto">
            <a:xfrm>
              <a:off x="72" y="1440"/>
              <a:ext cx="79" cy="144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FFFFFF"/>
                </a:solidFill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auto">
            <a:xfrm>
              <a:off x="72" y="2880"/>
              <a:ext cx="79" cy="1440"/>
            </a:xfrm>
            <a:prstGeom prst="rect">
              <a:avLst/>
            </a:prstGeom>
            <a:solidFill>
              <a:srgbClr val="DCDCD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de-DE" sz="4704">
                <a:solidFill>
                  <a:srgbClr val="000000"/>
                </a:solidFill>
                <a:latin typeface="Arial" charset="0"/>
                <a:ea typeface="ＭＳ Ｐゴシック" charset="-128"/>
              </a:endParaRPr>
            </a:p>
          </p:txBody>
        </p:sp>
      </p:grp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1066800" y="8883247"/>
            <a:ext cx="7823200" cy="393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de-DE" sz="1960" dirty="0">
                <a:solidFill>
                  <a:srgbClr val="F4F4F4"/>
                </a:solidFill>
                <a:latin typeface="Arial" charset="0"/>
                <a:ea typeface="ＭＳ Ｐゴシック" charset="-128"/>
              </a:rPr>
              <a:t>J. Ritman		Forschungszentrum Juelich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auto">
          <a:xfrm>
            <a:off x="751207" y="3998279"/>
            <a:ext cx="11641455" cy="2505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4480" dirty="0">
                <a:solidFill>
                  <a:srgbClr val="FFFFFF"/>
                </a:solidFill>
                <a:latin typeface="Arial" charset="0"/>
              </a:rPr>
              <a:t>Status of the FAIR Experiments:</a:t>
            </a:r>
          </a:p>
          <a:p>
            <a:pPr>
              <a:spcBef>
                <a:spcPct val="50000"/>
              </a:spcBef>
              <a:defRPr/>
            </a:pPr>
            <a:r>
              <a:rPr lang="en-US" sz="4480" dirty="0">
                <a:solidFill>
                  <a:srgbClr val="FFFFFF"/>
                </a:solidFill>
                <a:latin typeface="Arial" charset="0"/>
              </a:rPr>
              <a:t>An overview from the </a:t>
            </a:r>
            <a:br>
              <a:rPr lang="en-US" sz="4480" dirty="0">
                <a:solidFill>
                  <a:srgbClr val="FFFFFF"/>
                </a:solidFill>
                <a:latin typeface="Arial" charset="0"/>
              </a:rPr>
            </a:br>
            <a:r>
              <a:rPr lang="en-US" sz="4480" dirty="0">
                <a:solidFill>
                  <a:srgbClr val="FFFFFF"/>
                </a:solidFill>
                <a:latin typeface="Arial" charset="0"/>
              </a:rPr>
              <a:t>Board of FAIR Collaborations</a:t>
            </a:r>
            <a:endParaRPr lang="en-US" sz="6720" dirty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4" name="Picture 17" descr="Logo_FZ_Jülich_NEU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41080" y="355600"/>
            <a:ext cx="3520440" cy="1140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0072256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9821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1680"/>
            </a:lvl1pPr>
          </a:lstStyle>
          <a:p>
            <a:pPr>
              <a:defRPr/>
            </a:pPr>
            <a:endParaRPr lang="de-DE" sz="154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E84B07-853F-40DB-A071-704EFF32D15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695993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0269706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6830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71977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33584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73816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6004663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2368825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82801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121140" y="853440"/>
            <a:ext cx="2720340" cy="757428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960120" y="853440"/>
            <a:ext cx="7947660" cy="7574280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29360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1003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336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BC45C3-8270-4D20-B5B2-998B72B7CBD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098930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66700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654040"/>
            <a:ext cx="5334000" cy="27736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789392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0120" y="853440"/>
            <a:ext cx="10881360" cy="16002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96012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07480" y="2667000"/>
            <a:ext cx="5334000" cy="576072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460580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251435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2458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07D51-02AF-4D1C-9176-05ED4CC8EC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183548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AF7D3-A6F5-4055-9635-1E4600BABE1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692428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9ECF8-9783-4E7B-8096-7ADFB4E464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747537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0D31-0704-4AEC-8EDB-63E3087B11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037112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919FA-F87A-4B42-A1CD-0E749B3E7D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84312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6C4B83-5714-4E51-B0B4-92E9DB4C7C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82297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336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FD382D-C6DA-4720-9D1A-256E987AD2E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22705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D074A-3E24-4F58-B20C-32C299F94A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76520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0CE02-E0C1-479C-9C89-82464D2070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496520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469845-D875-4C8E-A5FF-F5E2C1DC7A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455271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530052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3ADD524-02F4-4A37-8395-D86971DBA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337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757461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07D51-02AF-4D1C-9176-05ED4CC8EC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68382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AF7D3-A6F5-4055-9635-1E4600BABE1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08856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9ECF8-9783-4E7B-8096-7ADFB4E464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377658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0D31-0704-4AEC-8EDB-63E3087B11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94931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919FA-F87A-4B42-A1CD-0E749B3E7D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8093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336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0CF91-EF40-4D0A-A120-D52145CB47F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5919341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6C4B83-5714-4E51-B0B4-92E9DB4C7C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7965935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D074A-3E24-4F58-B20C-32C299F94A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628899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0CE02-E0C1-479C-9C89-82464D2070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28021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469845-D875-4C8E-A5FF-F5E2C1DC7A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86132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619519"/>
      </p:ext>
    </p:extLst>
  </p:cSld>
  <p:clrMapOvr>
    <a:masterClrMapping/>
  </p:clrMapOvr>
  <p:transition spd="slow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25997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CF9F24-AE49-4273-A809-8A724B1C7FF8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983412"/>
      </p:ext>
    </p:extLst>
  </p:cSld>
  <p:clrMapOvr>
    <a:masterClrMapping/>
  </p:clrMapOvr>
  <p:transition spd="slow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6E73EB-0223-417F-B21D-3F0189C2B42D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958864"/>
      </p:ext>
    </p:extLst>
  </p:cSld>
  <p:clrMapOvr>
    <a:masterClrMapping/>
  </p:clrMapOvr>
  <p:transition spd="slow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9AC672-F518-4DC3-877C-3F9A348E975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360646"/>
      </p:ext>
    </p:extLst>
  </p:cSld>
  <p:clrMapOvr>
    <a:masterClrMapping/>
  </p:clrMapOvr>
  <p:transition spd="slow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8BD696B-EAE8-4479-B915-69B81EF09383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444112"/>
      </p:ext>
    </p:extLst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336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DF1F1-838F-4097-B2FF-4800F54455E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6620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82056"/>
      </p:ext>
    </p:extLst>
  </p:cSld>
  <p:clrMapOvr>
    <a:masterClrMapping/>
  </p:clrMapOvr>
  <p:transition spd="slow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065259"/>
      </p:ext>
    </p:extLst>
  </p:cSld>
  <p:clrMapOvr>
    <a:masterClrMapping/>
  </p:clrMapOvr>
  <p:transition spd="slow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4BF23F-2453-43C9-B3E5-E1D51A3DA76D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972186"/>
      </p:ext>
    </p:extLst>
  </p:cSld>
  <p:clrMapOvr>
    <a:masterClrMapping/>
  </p:clrMapOvr>
  <p:transition spd="slow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312041"/>
      </p:ext>
    </p:extLst>
  </p:cSld>
  <p:clrMapOvr>
    <a:masterClrMapping/>
  </p:clrMapOvr>
  <p:transition spd="slow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431399"/>
      </p:ext>
    </p:extLst>
  </p:cSld>
  <p:clrMapOvr>
    <a:masterClrMapping/>
  </p:clrMapOvr>
  <p:transition spd="slow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003" y="382270"/>
            <a:ext cx="4551723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3" y="382270"/>
            <a:ext cx="7496535" cy="84188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0003" y="2009140"/>
            <a:ext cx="4551723" cy="6791988"/>
          </a:xfr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252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521D162-FB54-4FCE-8CD4-0505E58959D5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925749"/>
      </p:ext>
    </p:extLst>
  </p:cSld>
  <p:clrMapOvr>
    <a:masterClrMapping/>
  </p:clrMapOvr>
  <p:transition spd="slow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3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6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308C1B-2B55-45B5-9A65-F0CC808A9D81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684606"/>
      </p:ext>
    </p:extLst>
  </p:cSld>
  <p:clrMapOvr>
    <a:masterClrMapping/>
  </p:clrMapOvr>
  <p:transition spd="slow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995" y="6720840"/>
            <a:ext cx="1220161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9995" y="300008"/>
            <a:ext cx="12201610" cy="6318599"/>
          </a:xfrm>
        </p:spPr>
        <p:txBody>
          <a:bodyPr rtlCol="0">
            <a:normAutofit/>
          </a:bodyPr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99995" y="7514273"/>
            <a:ext cx="1220161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847B03-BE90-438F-B2FA-92A3AC3F45AA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4880384"/>
      </p:ext>
    </p:extLst>
  </p:cSld>
  <p:clrMapOvr>
    <a:masterClrMapping/>
  </p:clrMapOvr>
  <p:transition spd="slow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404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93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280185" indent="0">
              <a:buNone/>
              <a:defRPr sz="2240">
                <a:solidFill>
                  <a:schemeClr val="tx1">
                    <a:tint val="75000"/>
                  </a:schemeClr>
                </a:solidFill>
              </a:defRPr>
            </a:lvl3pPr>
            <a:lvl4pPr marL="1920278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4pPr>
            <a:lvl5pPr marL="256037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5pPr>
            <a:lvl6pPr marL="3200464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6pPr>
            <a:lvl7pPr marL="3840557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7pPr>
            <a:lvl8pPr marL="448065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8pPr>
            <a:lvl9pPr marL="5120742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8DDF69-6CF9-4F60-B261-4103871A31B0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504346"/>
      </p:ext>
    </p:extLst>
  </p:cSld>
  <p:clrMapOvr>
    <a:masterClrMapping/>
  </p:clrMapOvr>
  <p:transition spd="slow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01381" y="0"/>
            <a:ext cx="2000219" cy="96012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00102" y="384493"/>
            <a:ext cx="9601267" cy="881668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5400000">
            <a:off x="-663415" y="1363506"/>
            <a:ext cx="2438083" cy="511175"/>
          </a:xfrm>
        </p:spPr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5400000">
            <a:off x="-744535" y="4745040"/>
            <a:ext cx="2600325" cy="511175"/>
          </a:xfrm>
        </p:spPr>
        <p:txBody>
          <a:bodyPr/>
          <a:lstStyle>
            <a:lvl1pPr>
              <a:defRPr/>
            </a:lvl1pPr>
          </a:lstStyle>
          <a:p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-468945" y="7920992"/>
            <a:ext cx="2049145" cy="511175"/>
          </a:xfrm>
        </p:spPr>
        <p:txBody>
          <a:bodyPr/>
          <a:lstStyle>
            <a:lvl1pPr>
              <a:defRPr/>
            </a:lvl1pPr>
          </a:lstStyle>
          <a:p>
            <a:fld id="{C3BA0864-E87E-4B98-B168-D3EBF0D6EAC0}" type="slidenum">
              <a:rPr lang="en-GB" altLang="en-US" smtClean="0">
                <a:solidFill>
                  <a:prstClr val="black"/>
                </a:solidFill>
              </a:rPr>
              <a:pPr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5122"/>
      </p:ext>
    </p:extLst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02275" y="1575753"/>
            <a:ext cx="12048172" cy="7358697"/>
          </a:xfr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336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3619E-943F-4EAF-BF4A-37AE92038F3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2221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2248015"/>
      </p:ext>
    </p:extLst>
  </p:cSld>
  <p:clrMapOvr>
    <a:masterClrMapping/>
  </p:clrMapOvr>
  <p:transition spd="slow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60120" y="2982597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/>
            </a:lvl1pPr>
            <a:lvl2pPr marL="640093" indent="0" algn="ctr">
              <a:buNone/>
              <a:defRPr/>
            </a:lvl2pPr>
            <a:lvl3pPr marL="1280185" indent="0" algn="ctr">
              <a:buNone/>
              <a:defRPr/>
            </a:lvl3pPr>
            <a:lvl4pPr marL="1920278" indent="0" algn="ctr">
              <a:buNone/>
              <a:defRPr/>
            </a:lvl4pPr>
            <a:lvl5pPr marL="2560372" indent="0" algn="ctr">
              <a:buNone/>
              <a:defRPr/>
            </a:lvl5pPr>
            <a:lvl6pPr marL="3200464" indent="0" algn="ctr">
              <a:buNone/>
              <a:defRPr/>
            </a:lvl6pPr>
            <a:lvl7pPr marL="3840557" indent="0" algn="ctr">
              <a:buNone/>
              <a:defRPr/>
            </a:lvl7pPr>
            <a:lvl8pPr marL="4480650" indent="0" algn="ctr">
              <a:buNone/>
              <a:defRPr/>
            </a:lvl8pPr>
            <a:lvl9pPr marL="5120742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20990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345680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427286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347503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192182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10230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7592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509560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646250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25995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4636478"/>
      </p:ext>
    </p:extLst>
  </p:cSld>
  <p:clrMapOvr>
    <a:masterClrMapping/>
  </p:clrMapOvr>
  <p:transition spd="slow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88951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404875"/>
      </p:ext>
    </p:extLst>
  </p:cSld>
  <p:clrMapOvr>
    <a:masterClrMapping/>
  </p:clrMapOvr>
  <p:transition spd="slow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1572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89095"/>
      </p:ext>
    </p:extLst>
  </p:cSld>
  <p:clrMapOvr>
    <a:masterClrMapping/>
  </p:clrMapOvr>
  <p:transition spd="slow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62649"/>
      </p:ext>
    </p:extLst>
  </p:cSld>
  <p:clrMapOvr>
    <a:masterClrMapping/>
  </p:clrMapOvr>
  <p:transition spd="slow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530323"/>
      </p:ext>
    </p:extLst>
  </p:cSld>
  <p:clrMapOvr>
    <a:masterClrMapping/>
  </p:clrMapOvr>
  <p:transition spd="slow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030510"/>
      </p:ext>
    </p:extLst>
  </p:cSld>
  <p:clrMapOvr>
    <a:masterClrMapping/>
  </p:clrMapOvr>
  <p:transition spd="slow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60976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D06DE3-952E-4A4D-A588-CF25DF1DBD7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39399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7EDB30-570F-4AAC-B37C-70796FB2329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3971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981707"/>
      </p:ext>
    </p:extLst>
  </p:cSld>
  <p:clrMapOvr>
    <a:masterClrMapping/>
  </p:clrMapOvr>
  <p:transition spd="slow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DA151-3E76-41E6-86EE-F6F36733700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82587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8BE139-1CBE-4614-9BB2-0454B400C24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95914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C0E72D-C8C2-4C8A-B1CC-B256F9C315E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734126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805428-3FA2-49A1-A79C-29E29DBBFAB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355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8E87BA-4804-40E2-95E9-21CB06B0CA0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017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5A6C8D-1775-440B-B7E3-8F23D0A0A1E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53801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6074B1-0152-46B8-8355-408C5227D0A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1957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776705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4771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07D51-02AF-4D1C-9176-05ED4CC8ECD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7941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0001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884EAD-935E-4339-9ED5-94CC5FE4E31D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739672"/>
      </p:ext>
    </p:extLst>
  </p:cSld>
  <p:clrMapOvr>
    <a:masterClrMapping/>
  </p:clrMapOvr>
  <p:transition spd="slow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AF7D3-A6F5-4055-9635-1E4600BABE1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68317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9ECF8-9783-4E7B-8096-7ADFB4E4641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2255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0D31-0704-4AEC-8EDB-63E3087B11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043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919FA-F87A-4B42-A1CD-0E749B3E7D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8860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6C4B83-5714-4E51-B0B4-92E9DB4C7C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6971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D074A-3E24-4F58-B20C-32C299F94A4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39275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51258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03137-464F-4AD9-9C73-465AF891D32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03607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A7C3-8D5F-4A54-B89D-17817AB69C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89551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CE0E0-A5D1-4101-8052-FB53C536402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0782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6" y="1400154"/>
            <a:ext cx="5994127" cy="740097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6380174"/>
      </p:ext>
    </p:extLst>
  </p:cSld>
  <p:clrMapOvr>
    <a:masterClrMapping/>
  </p:clrMapOvr>
  <p:transition spd="slow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E9725-06EC-4467-969D-76630C33826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50130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7AE9F-ABF5-42BC-883F-BEA53BF397A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13495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EA0154-561E-4C5F-BFBC-B60DE1D36C6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61308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122241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398EE-C449-4D3C-BF20-9BA3D3C278B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58630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AF158-3215-4C73-BA7D-5B60EAA942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15776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2032E-F86E-4C5E-AA16-F4DCFE9C6ED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74093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EBF31-9F6A-4D9E-900D-D318B297AFD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84774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456ED-1A1E-4806-A2C8-4D0291D6C04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0216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02275" y="1575753"/>
            <a:ext cx="12048172" cy="735869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60780-A5A7-4142-9B37-9DDEF383F35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0892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0818" y="1400151"/>
            <a:ext cx="599857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0815" y="2400286"/>
            <a:ext cx="6000792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3340948"/>
      </p:ext>
    </p:extLst>
  </p:cSld>
  <p:clrMapOvr>
    <a:masterClrMapping/>
  </p:clrMapOvr>
  <p:transition spd="slow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402275" y="1575753"/>
            <a:ext cx="5916295" cy="357155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31928" y="1575753"/>
            <a:ext cx="5918517" cy="357155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02275" y="5360670"/>
            <a:ext cx="5916295" cy="35737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31928" y="5360670"/>
            <a:ext cx="5918517" cy="357378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D240F-37A6-4A1B-BB69-71F0C96C730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74107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640080" y="2240282"/>
            <a:ext cx="5654040" cy="63363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507480" y="2240280"/>
            <a:ext cx="5654040" cy="30603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6507480" y="5514025"/>
            <a:ext cx="5654040" cy="306260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636044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-51116" y="9250047"/>
            <a:ext cx="6149658" cy="35115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11643678" y="9250047"/>
            <a:ext cx="1020127" cy="35115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5C1B02-F210-4738-8EE1-B1EA961C3AC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444600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8467725" y="0"/>
            <a:ext cx="4429443" cy="2687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2" y="0"/>
            <a:ext cx="4316095" cy="2935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4316095" y="0"/>
            <a:ext cx="4151630" cy="270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8467725" y="0"/>
            <a:ext cx="0" cy="271367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52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4316095" y="0"/>
            <a:ext cx="0" cy="2704783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52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8449945"/>
            <a:ext cx="12801600" cy="11779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2"/>
            <a:ext cx="12801600" cy="2742565"/>
          </a:xfrm>
          <a:prstGeom prst="rect">
            <a:avLst/>
          </a:prstGeom>
          <a:solidFill>
            <a:schemeClr val="bg1">
              <a:alpha val="3490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2687005"/>
            <a:ext cx="12801600" cy="5762942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endParaRPr lang="en-GB" altLang="ru-RU" sz="2520">
              <a:solidFill>
                <a:srgbClr val="000000"/>
              </a:solidFill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6400800" y="-3687127"/>
            <a:ext cx="0" cy="128016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52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0315" y="8598855"/>
            <a:ext cx="1257935" cy="99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33" y="5774057"/>
            <a:ext cx="8578850" cy="2051368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649710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837B73-F67B-4796-9011-A84AF9A786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67024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1238" y="6169662"/>
            <a:ext cx="10881360" cy="1906905"/>
          </a:xfrm>
        </p:spPr>
        <p:txBody>
          <a:bodyPr/>
          <a:lstStyle>
            <a:lvl1pPr algn="l">
              <a:defRPr sz="56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011238" y="4069400"/>
            <a:ext cx="10881360" cy="2100262"/>
          </a:xfrm>
        </p:spPr>
        <p:txBody>
          <a:bodyPr anchor="b"/>
          <a:lstStyle>
            <a:lvl1pPr marL="0" indent="0">
              <a:buNone/>
              <a:defRPr sz="2800"/>
            </a:lvl1pPr>
            <a:lvl2pPr marL="640093" indent="0">
              <a:buNone/>
              <a:defRPr sz="2520"/>
            </a:lvl2pPr>
            <a:lvl3pPr marL="1280185" indent="0">
              <a:buNone/>
              <a:defRPr sz="2240"/>
            </a:lvl3pPr>
            <a:lvl4pPr marL="1920278" indent="0">
              <a:buNone/>
              <a:defRPr sz="1960"/>
            </a:lvl4pPr>
            <a:lvl5pPr marL="2560372" indent="0">
              <a:buNone/>
              <a:defRPr sz="1960"/>
            </a:lvl5pPr>
            <a:lvl6pPr marL="3200464" indent="0">
              <a:buNone/>
              <a:defRPr sz="1960"/>
            </a:lvl6pPr>
            <a:lvl7pPr marL="3840557" indent="0">
              <a:buNone/>
              <a:defRPr sz="1960"/>
            </a:lvl7pPr>
            <a:lvl8pPr marL="4480650" indent="0">
              <a:buNone/>
              <a:defRPr sz="1960"/>
            </a:lvl8pPr>
            <a:lvl9pPr marL="5120742" indent="0">
              <a:buNone/>
              <a:defRPr sz="19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71BF49-CFA7-426B-BD93-D8901969C9B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133826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>
            <a:lvl1pPr>
              <a:defRPr sz="3920"/>
            </a:lvl1pPr>
            <a:lvl2pPr>
              <a:defRPr sz="3360"/>
            </a:lvl2pPr>
            <a:lvl3pPr>
              <a:defRPr sz="2800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41BDC2-E510-4C2B-80F0-1FDB51164B9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18420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503037" y="2149158"/>
            <a:ext cx="5658485" cy="895667"/>
          </a:xfrm>
        </p:spPr>
        <p:txBody>
          <a:bodyPr anchor="b"/>
          <a:lstStyle>
            <a:lvl1pPr marL="0" indent="0">
              <a:buNone/>
              <a:defRPr sz="336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503037" y="3044825"/>
            <a:ext cx="5658485" cy="5531803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E4F65C-4B9C-4F52-AFF7-3FB0EB6A8D4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62846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FF8F5D-AE4E-46E5-A1BA-2BB02E579FA7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28902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315C43-E8BB-45F7-84D9-8A96037332A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1292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995" y="1400151"/>
            <a:ext cx="5996350" cy="895667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640093" indent="0">
              <a:buNone/>
              <a:defRPr sz="2800" b="1"/>
            </a:lvl2pPr>
            <a:lvl3pPr marL="1280185" indent="0">
              <a:buNone/>
              <a:defRPr sz="2520" b="1"/>
            </a:lvl3pPr>
            <a:lvl4pPr marL="1920278" indent="0">
              <a:buNone/>
              <a:defRPr sz="2240" b="1"/>
            </a:lvl4pPr>
            <a:lvl5pPr marL="2560372" indent="0">
              <a:buNone/>
              <a:defRPr sz="2240" b="1"/>
            </a:lvl5pPr>
            <a:lvl6pPr marL="3200464" indent="0">
              <a:buNone/>
              <a:defRPr sz="2240" b="1"/>
            </a:lvl6pPr>
            <a:lvl7pPr marL="3840557" indent="0">
              <a:buNone/>
              <a:defRPr sz="2240" b="1"/>
            </a:lvl7pPr>
            <a:lvl8pPr marL="4480650" indent="0">
              <a:buNone/>
              <a:defRPr sz="2240" b="1"/>
            </a:lvl8pPr>
            <a:lvl9pPr marL="5120742" indent="0">
              <a:buNone/>
              <a:defRPr sz="22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9995" y="2400286"/>
            <a:ext cx="5996350" cy="6400845"/>
          </a:xfrm>
        </p:spPr>
        <p:txBody>
          <a:bodyPr/>
          <a:lstStyle>
            <a:lvl1pPr>
              <a:defRPr sz="3360"/>
            </a:lvl1pPr>
            <a:lvl2pPr>
              <a:defRPr sz="2800"/>
            </a:lvl2pPr>
            <a:lvl3pPr>
              <a:defRPr sz="2520"/>
            </a:lvl3pPr>
            <a:lvl4pPr>
              <a:defRPr sz="2240"/>
            </a:lvl4pPr>
            <a:lvl5pPr>
              <a:defRPr sz="2240"/>
            </a:lvl5pPr>
            <a:lvl6pPr>
              <a:defRPr sz="2240"/>
            </a:lvl6pPr>
            <a:lvl7pPr>
              <a:defRPr sz="2240"/>
            </a:lvl7pPr>
            <a:lvl8pPr>
              <a:defRPr sz="2240"/>
            </a:lvl8pPr>
            <a:lvl9pPr>
              <a:defRPr sz="22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2824006"/>
      </p:ext>
    </p:extLst>
  </p:cSld>
  <p:clrMapOvr>
    <a:masterClrMapping/>
  </p:clrMapOvr>
  <p:transition spd="slow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0082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05070" y="382272"/>
            <a:ext cx="7156450" cy="8194358"/>
          </a:xfrm>
        </p:spPr>
        <p:txBody>
          <a:bodyPr/>
          <a:lstStyle>
            <a:lvl1pPr>
              <a:defRPr sz="4480"/>
            </a:lvl1pPr>
            <a:lvl2pPr>
              <a:defRPr sz="3920"/>
            </a:lvl2pPr>
            <a:lvl3pPr>
              <a:defRPr sz="336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40082" y="2009142"/>
            <a:ext cx="4211638" cy="6567488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F27DC3-DA20-4B86-99BA-16E288FD041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51322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480"/>
            </a:lvl1pPr>
            <a:lvl2pPr marL="640093" indent="0">
              <a:buNone/>
              <a:defRPr sz="3920"/>
            </a:lvl2pPr>
            <a:lvl3pPr marL="1280185" indent="0">
              <a:buNone/>
              <a:defRPr sz="3360"/>
            </a:lvl3pPr>
            <a:lvl4pPr marL="1920278" indent="0">
              <a:buNone/>
              <a:defRPr sz="2800"/>
            </a:lvl4pPr>
            <a:lvl5pPr marL="2560372" indent="0">
              <a:buNone/>
              <a:defRPr sz="2800"/>
            </a:lvl5pPr>
            <a:lvl6pPr marL="3200464" indent="0">
              <a:buNone/>
              <a:defRPr sz="2800"/>
            </a:lvl6pPr>
            <a:lvl7pPr marL="3840557" indent="0">
              <a:buNone/>
              <a:defRPr sz="2800"/>
            </a:lvl7pPr>
            <a:lvl8pPr marL="4480650" indent="0">
              <a:buNone/>
              <a:defRPr sz="2800"/>
            </a:lvl8pPr>
            <a:lvl9pPr marL="5120742" indent="0">
              <a:buNone/>
              <a:defRPr sz="28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1960"/>
            </a:lvl1pPr>
            <a:lvl2pPr marL="640093" indent="0">
              <a:buNone/>
              <a:defRPr sz="1680"/>
            </a:lvl2pPr>
            <a:lvl3pPr marL="1280185" indent="0">
              <a:buNone/>
              <a:defRPr sz="1400"/>
            </a:lvl3pPr>
            <a:lvl4pPr marL="1920278" indent="0">
              <a:buNone/>
              <a:defRPr sz="1260"/>
            </a:lvl4pPr>
            <a:lvl5pPr marL="2560372" indent="0">
              <a:buNone/>
              <a:defRPr sz="1260"/>
            </a:lvl5pPr>
            <a:lvl6pPr marL="3200464" indent="0">
              <a:buNone/>
              <a:defRPr sz="1260"/>
            </a:lvl6pPr>
            <a:lvl7pPr marL="3840557" indent="0">
              <a:buNone/>
              <a:defRPr sz="1260"/>
            </a:lvl7pPr>
            <a:lvl8pPr marL="4480650" indent="0">
              <a:buNone/>
              <a:defRPr sz="1260"/>
            </a:lvl8pPr>
            <a:lvl9pPr marL="5120742" indent="0">
              <a:buNone/>
              <a:defRPr sz="126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EF734C-55C6-4CF6-BA15-406B1706EEE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3878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CA3EA5-D33E-4C8C-9F98-273B74E6D67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6869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438958" y="315597"/>
            <a:ext cx="3011487" cy="861885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02275" y="315597"/>
            <a:ext cx="8823325" cy="861885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3AA078-DDD3-494A-87D2-E75C795157A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40490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02275" y="1575753"/>
            <a:ext cx="5916295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531928" y="1575753"/>
            <a:ext cx="5918517" cy="7358697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99B75-CA38-4E23-A0BF-8ABDC3FE7C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56838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402275" y="1575753"/>
            <a:ext cx="12048172" cy="7358697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A619A-C0C3-4466-9512-D69ECDEC0F0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199977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601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1CAA495-3737-4C5B-A1F0-2AD2701FEE16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166570"/>
      </p:ext>
    </p:extLst>
  </p:cSld>
  <p:clrMapOvr>
    <a:masterClrMapping/>
  </p:clrMapOvr>
  <p:transition spd="slow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1965287"/>
            <a:ext cx="10881360" cy="20580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4611579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  <a:lvl2pPr marL="640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6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27061" y="8898892"/>
            <a:ext cx="4347483" cy="5111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4575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452757"/>
      </p:ext>
    </p:extLst>
  </p:cSld>
  <p:clrMapOvr>
    <a:masterClrMapping/>
  </p:clrMapOvr>
  <p:transition spd="slow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8FD4D-F9D6-4FD7-A96E-8F0752404E5C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846901"/>
      </p:ext>
    </p:extLst>
  </p:cSld>
  <p:clrMapOvr>
    <a:masterClrMapping/>
  </p:clrMapOvr>
  <p:transition spd="slow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slideLayout" Target="../slideLayouts/slideLayout167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78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5.xml"/><Relationship Id="rId18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10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theme" Target="../theme/theme1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3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22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6.xml"/><Relationship Id="rId5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219.xml"/><Relationship Id="rId9" Type="http://schemas.openxmlformats.org/officeDocument/2006/relationships/slideLayout" Target="../slideLayouts/slideLayout22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231.xml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3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39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42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69.xml"/><Relationship Id="rId12" Type="http://schemas.openxmlformats.org/officeDocument/2006/relationships/theme" Target="../theme/theme21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264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6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tags" Target="../tags/tag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3" Type="http://schemas.openxmlformats.org/officeDocument/2006/relationships/slideLayout" Target="../slideLayouts/slideLayout276.xml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theme" Target="../theme/theme22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6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 smtClean="0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2" r:id="rId16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</a:defRPr>
            </a:lvl1pPr>
          </a:lstStyle>
          <a:p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  <a:ea typeface="ＭＳ Ｐゴシック" pitchFamily="-110" charset="-128"/>
              </a:defRPr>
            </a:lvl1pPr>
          </a:lstStyle>
          <a:p>
            <a:pPr>
              <a:defRPr/>
            </a:pPr>
            <a:fld id="{A07995E9-FE8B-4C8A-97CC-46B3CE0BB03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39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2" r:id="rId1"/>
    <p:sldLayoutId id="2147484293" r:id="rId2"/>
    <p:sldLayoutId id="2147484294" r:id="rId3"/>
    <p:sldLayoutId id="2147484295" r:id="rId4"/>
    <p:sldLayoutId id="2147484296" r:id="rId5"/>
    <p:sldLayoutId id="2147484297" r:id="rId6"/>
    <p:sldLayoutId id="2147484298" r:id="rId7"/>
    <p:sldLayoutId id="2147484299" r:id="rId8"/>
    <p:sldLayoutId id="2147484300" r:id="rId9"/>
    <p:sldLayoutId id="2147484301" r:id="rId10"/>
    <p:sldLayoutId id="2147484302" r:id="rId11"/>
    <p:sldLayoutId id="2147484303" r:id="rId12"/>
    <p:sldLayoutId id="2147484304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ＭＳ Ｐゴシック" pitchFamily="-110" charset="-128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ＭＳ Ｐゴシック" pitchFamily="-110" charset="-128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  <a:ea typeface="ＭＳ Ｐゴシック" pitchFamily="-110" charset="-128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  <a:ea typeface="ＭＳ Ｐゴシック" pitchFamily="-110" charset="-128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710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308" r:id="rId3"/>
    <p:sldLayoutId id="2147484309" r:id="rId4"/>
    <p:sldLayoutId id="2147484310" r:id="rId5"/>
    <p:sldLayoutId id="2147484311" r:id="rId6"/>
    <p:sldLayoutId id="2147484312" r:id="rId7"/>
    <p:sldLayoutId id="2147484313" r:id="rId8"/>
    <p:sldLayoutId id="2147484314" r:id="rId9"/>
    <p:sldLayoutId id="2147484315" r:id="rId10"/>
    <p:sldLayoutId id="2147484316" r:id="rId11"/>
    <p:sldLayoutId id="2147484317" r:id="rId12"/>
    <p:sldLayoutId id="2147484318" r:id="rId13"/>
    <p:sldLayoutId id="2147484319" r:id="rId14"/>
    <p:sldLayoutId id="2147484320" r:id="rId15"/>
    <p:sldLayoutId id="2147484321" r:id="rId16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extmasterformate durch Klicken bearbeiten</a:t>
            </a:r>
          </a:p>
          <a:p>
            <a:pPr lvl="1"/>
            <a:r>
              <a:rPr lang="en-GB" altLang="de-DE"/>
              <a:t>Zweite Ebene</a:t>
            </a:r>
          </a:p>
          <a:p>
            <a:pPr lvl="2"/>
            <a:r>
              <a:rPr lang="en-GB" altLang="de-DE"/>
              <a:t>Dritte Ebene</a:t>
            </a:r>
          </a:p>
          <a:p>
            <a:pPr lvl="3"/>
            <a:r>
              <a:rPr lang="en-GB" altLang="de-DE"/>
              <a:t>Vierte Ebene</a:t>
            </a:r>
          </a:p>
          <a:p>
            <a:pPr lvl="4"/>
            <a:r>
              <a:rPr lang="en-GB" altLang="de-DE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>
              <a:ea typeface="ＭＳ Ｐゴシック" pitchFamily="-110" charset="-128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77959E43-20BF-4D68-A9DF-984EFFF3CD2E}" type="slidenum">
              <a:rPr lang="de-DE">
                <a:ea typeface="ＭＳ Ｐゴシック" pitchFamily="-110" charset="-128"/>
              </a:rPr>
              <a:pPr>
                <a:defRPr/>
              </a:pPr>
              <a:t>‹#›</a:t>
            </a:fld>
            <a:endParaRPr lang="de-DE">
              <a:ea typeface="ＭＳ Ｐゴシック" pitchFamily="-110" charset="-128"/>
            </a:endParaRPr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73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47" r:id="rId7"/>
    <p:sldLayoutId id="2147484348" r:id="rId8"/>
    <p:sldLayoutId id="2147484349" r:id="rId9"/>
    <p:sldLayoutId id="2147484350" r:id="rId10"/>
    <p:sldLayoutId id="2147484351" r:id="rId11"/>
    <p:sldLayoutId id="2147484352" r:id="rId12"/>
    <p:sldLayoutId id="2147484353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ＭＳ Ｐゴシック" pitchFamily="-110" charset="-128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  <a:ea typeface="ＭＳ Ｐゴシック" pitchFamily="-110" charset="-128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  <a:ea typeface="ＭＳ Ｐゴシック" pitchFamily="-110" charset="-128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  <a:ea typeface="ＭＳ Ｐゴシック" pitchFamily="-110" charset="-128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762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5" r:id="rId1"/>
    <p:sldLayoutId id="2147484426" r:id="rId2"/>
    <p:sldLayoutId id="2147484427" r:id="rId3"/>
    <p:sldLayoutId id="2147484428" r:id="rId4"/>
    <p:sldLayoutId id="2147484429" r:id="rId5"/>
    <p:sldLayoutId id="2147484430" r:id="rId6"/>
    <p:sldLayoutId id="2147484431" r:id="rId7"/>
    <p:sldLayoutId id="2147484432" r:id="rId8"/>
    <p:sldLayoutId id="2147484433" r:id="rId9"/>
    <p:sldLayoutId id="2147484434" r:id="rId10"/>
    <p:sldLayoutId id="2147484435" r:id="rId11"/>
    <p:sldLayoutId id="2147484436" r:id="rId12"/>
    <p:sldLayoutId id="2147484437" r:id="rId13"/>
    <p:sldLayoutId id="2147484438" r:id="rId14"/>
    <p:sldLayoutId id="2147484439" r:id="rId15"/>
    <p:sldLayoutId id="2147484440" r:id="rId16"/>
    <p:sldLayoutId id="2147484441" r:id="rId17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endParaRPr lang="de-DE">
              <a:latin typeface="Arial" charset="0"/>
              <a:cs typeface="+mn-cs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>
                <a:latin typeface="Arial" charset="0"/>
                <a:cs typeface="+mn-cs"/>
              </a:rPr>
              <a:pPr>
                <a:defRPr/>
              </a:pPr>
              <a:t>‹#›</a:t>
            </a:fld>
            <a:endParaRPr lang="de-DE">
              <a:latin typeface="Arial" charset="0"/>
              <a:cs typeface="+mn-cs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061385" y="53340"/>
            <a:ext cx="1389062" cy="115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31609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8" r:id="rId1"/>
    <p:sldLayoutId id="2147484479" r:id="rId2"/>
    <p:sldLayoutId id="2147484480" r:id="rId3"/>
    <p:sldLayoutId id="2147484481" r:id="rId4"/>
    <p:sldLayoutId id="2147484482" r:id="rId5"/>
    <p:sldLayoutId id="2147484483" r:id="rId6"/>
    <p:sldLayoutId id="2147484484" r:id="rId7"/>
    <p:sldLayoutId id="2147484485" r:id="rId8"/>
    <p:sldLayoutId id="2147484486" r:id="rId9"/>
    <p:sldLayoutId id="2147484487" r:id="rId10"/>
    <p:sldLayoutId id="214748448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5pPr>
      <a:lvl6pPr marL="3640528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280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  <p:sldLayoutId id="2147484529" r:id="rId16"/>
    <p:sldLayoutId id="2147484530" r:id="rId17"/>
    <p:sldLayoutId id="2147484531" r:id="rId18"/>
    <p:sldLayoutId id="2147484532" r:id="rId19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0120" y="853440"/>
            <a:ext cx="1088136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inding tomorrow today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60120" y="2667000"/>
            <a:ext cx="10881360" cy="576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53316" name="Rectangle 4"/>
          <p:cNvSpPr>
            <a:spLocks noChangeArrowheads="1"/>
          </p:cNvSpPr>
          <p:nvPr/>
        </p:nvSpPr>
        <p:spPr bwMode="auto">
          <a:xfrm>
            <a:off x="2223" y="0"/>
            <a:ext cx="175577" cy="3200400"/>
          </a:xfrm>
          <a:prstGeom prst="rect">
            <a:avLst/>
          </a:prstGeom>
          <a:solidFill>
            <a:srgbClr val="B9BB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653317" name="Rectangle 5"/>
          <p:cNvSpPr>
            <a:spLocks noChangeArrowheads="1"/>
          </p:cNvSpPr>
          <p:nvPr/>
        </p:nvSpPr>
        <p:spPr bwMode="auto">
          <a:xfrm>
            <a:off x="2" y="6400800"/>
            <a:ext cx="175578" cy="3200400"/>
          </a:xfrm>
          <a:prstGeom prst="rect">
            <a:avLst/>
          </a:prstGeom>
          <a:solidFill>
            <a:srgbClr val="51535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653318" name="Rectangle 6"/>
          <p:cNvSpPr>
            <a:spLocks noChangeArrowheads="1"/>
          </p:cNvSpPr>
          <p:nvPr/>
        </p:nvSpPr>
        <p:spPr bwMode="auto">
          <a:xfrm>
            <a:off x="162243" y="0"/>
            <a:ext cx="175577" cy="3200400"/>
          </a:xfrm>
          <a:prstGeom prst="rect">
            <a:avLst/>
          </a:prstGeom>
          <a:solidFill>
            <a:srgbClr val="005B8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653319" name="Rectangle 7"/>
          <p:cNvSpPr>
            <a:spLocks noChangeArrowheads="1"/>
          </p:cNvSpPr>
          <p:nvPr/>
        </p:nvSpPr>
        <p:spPr bwMode="auto">
          <a:xfrm>
            <a:off x="160022" y="3200400"/>
            <a:ext cx="175578" cy="3200400"/>
          </a:xfrm>
          <a:prstGeom prst="rect">
            <a:avLst/>
          </a:prstGeom>
          <a:solidFill>
            <a:srgbClr val="B9BB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FFFFFF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653320" name="Rectangle 8"/>
          <p:cNvSpPr>
            <a:spLocks noChangeArrowheads="1"/>
          </p:cNvSpPr>
          <p:nvPr/>
        </p:nvSpPr>
        <p:spPr bwMode="auto">
          <a:xfrm>
            <a:off x="160022" y="6400800"/>
            <a:ext cx="175578" cy="320040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sp>
        <p:nvSpPr>
          <p:cNvPr id="653322" name="Text Box 10"/>
          <p:cNvSpPr txBox="1">
            <a:spLocks noChangeArrowheads="1"/>
          </p:cNvSpPr>
          <p:nvPr/>
        </p:nvSpPr>
        <p:spPr bwMode="auto">
          <a:xfrm>
            <a:off x="640080" y="9067800"/>
            <a:ext cx="11734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de-DE" sz="1400" dirty="0">
                <a:solidFill>
                  <a:srgbClr val="3A6F8A"/>
                </a:solidFill>
                <a:latin typeface="Arial" charset="0"/>
                <a:ea typeface="ＭＳ Ｐゴシック" charset="-128"/>
                <a:cs typeface="+mn-cs"/>
              </a:rPr>
              <a:t>		                            Jim Ritman									                                        		 		   </a:t>
            </a:r>
            <a:fld id="{10F37CC4-9A29-42E3-8F0E-C2C8EEDB17B8}" type="slidenum">
              <a:rPr lang="de-DE" sz="1400">
                <a:solidFill>
                  <a:srgbClr val="3A6F8A"/>
                </a:solidFill>
                <a:latin typeface="Arial" charset="0"/>
                <a:ea typeface="ＭＳ Ｐゴシック" charset="-128"/>
                <a:cs typeface="+mn-cs"/>
              </a:rPr>
              <a:pPr algn="ctr" eaLnBrk="0" hangingPunct="0">
                <a:spcBef>
                  <a:spcPct val="50000"/>
                </a:spcBef>
                <a:defRPr/>
              </a:pPr>
              <a:t>‹#›</a:t>
            </a:fld>
            <a:endParaRPr lang="de-DE" sz="1400" dirty="0">
              <a:solidFill>
                <a:srgbClr val="3A6F8A"/>
              </a:solidFill>
              <a:latin typeface="Arial" charset="0"/>
              <a:ea typeface="ＭＳ Ｐゴシック" charset="-128"/>
              <a:cs typeface="+mn-cs"/>
            </a:endParaRPr>
          </a:p>
        </p:txBody>
      </p:sp>
      <p:pic>
        <p:nvPicPr>
          <p:cNvPr id="2058" name="Picture 12" descr="Logo_FZ_Jülich_NEU_rgb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454640" y="177800"/>
            <a:ext cx="2026920" cy="657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1488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4" r:id="rId1"/>
    <p:sldLayoutId id="2147484535" r:id="rId2"/>
    <p:sldLayoutId id="2147484536" r:id="rId3"/>
    <p:sldLayoutId id="2147484537" r:id="rId4"/>
    <p:sldLayoutId id="2147484538" r:id="rId5"/>
    <p:sldLayoutId id="2147484539" r:id="rId6"/>
    <p:sldLayoutId id="2147484540" r:id="rId7"/>
    <p:sldLayoutId id="2147484541" r:id="rId8"/>
    <p:sldLayoutId id="2147484542" r:id="rId9"/>
    <p:sldLayoutId id="2147484543" r:id="rId10"/>
    <p:sldLayoutId id="2147484544" r:id="rId11"/>
    <p:sldLayoutId id="2147484545" r:id="rId12"/>
    <p:sldLayoutId id="2147484546" r:id="rId13"/>
    <p:sldLayoutId id="2147484547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9pPr>
    </p:titleStyle>
    <p:bodyStyle>
      <a:lvl1pPr marL="480070" indent="-480070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•"/>
        <a:defRPr sz="3080">
          <a:solidFill>
            <a:schemeClr val="tx1"/>
          </a:solidFill>
          <a:latin typeface="+mn-lt"/>
          <a:ea typeface="+mn-ea"/>
          <a:cs typeface="+mn-cs"/>
        </a:defRPr>
      </a:lvl1pPr>
      <a:lvl2pPr marL="1040151" indent="-400058" algn="l" rtl="0" eaLnBrk="0" fontAlgn="base" hangingPunct="0">
        <a:spcBef>
          <a:spcPct val="20000"/>
        </a:spcBef>
        <a:spcAft>
          <a:spcPct val="0"/>
        </a:spcAft>
        <a:buClr>
          <a:srgbClr val="005B82"/>
        </a:buClr>
        <a:buFont typeface="Wingdings" pitchFamily="2" charset="2"/>
        <a:buChar char="§"/>
        <a:defRPr sz="3080">
          <a:solidFill>
            <a:schemeClr val="tx1"/>
          </a:solidFill>
          <a:latin typeface="+mn-lt"/>
        </a:defRPr>
      </a:lvl2pPr>
      <a:lvl3pPr marL="1600232" indent="-320047" algn="l" rtl="0" eaLnBrk="0" fontAlgn="base" hangingPunct="0">
        <a:spcBef>
          <a:spcPct val="20000"/>
        </a:spcBef>
        <a:spcAft>
          <a:spcPct val="0"/>
        </a:spcAft>
        <a:buClr>
          <a:srgbClr val="005B82"/>
        </a:buClr>
        <a:buFont typeface="Wingdings" pitchFamily="2" charset="2"/>
        <a:buChar char="§"/>
        <a:defRPr sz="3080" i="1">
          <a:solidFill>
            <a:schemeClr val="tx1"/>
          </a:solidFill>
          <a:latin typeface="+mn-lt"/>
        </a:defRPr>
      </a:lvl3pPr>
      <a:lvl4pPr marL="2240325" indent="-320047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–"/>
        <a:defRPr sz="2800">
          <a:solidFill>
            <a:schemeClr val="tx1"/>
          </a:solidFill>
          <a:latin typeface="+mn-lt"/>
        </a:defRPr>
      </a:lvl4pPr>
      <a:lvl5pPr marL="2880417" indent="-320047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»"/>
        <a:defRPr sz="2800">
          <a:solidFill>
            <a:schemeClr val="tx1"/>
          </a:solidFill>
          <a:latin typeface="+mn-lt"/>
        </a:defRPr>
      </a:lvl5pPr>
      <a:lvl6pPr marL="3520510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6pPr>
      <a:lvl7pPr marL="4160603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7pPr>
      <a:lvl8pPr marL="4800697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8pPr>
      <a:lvl9pPr marL="5440789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endParaRPr lang="de-DE">
              <a:latin typeface="Arial" charset="0"/>
              <a:cs typeface="+mn-cs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EB37A547-3D71-413F-8EEA-BC6D47B0D046}" type="slidenum">
              <a:rPr lang="de-DE">
                <a:latin typeface="Arial" charset="0"/>
                <a:cs typeface="+mn-cs"/>
              </a:rPr>
              <a:pPr>
                <a:defRPr/>
              </a:pPr>
              <a:t>‹#›</a:t>
            </a:fld>
            <a:endParaRPr lang="de-DE">
              <a:latin typeface="Arial" charset="0"/>
              <a:cs typeface="+mn-cs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061385" y="53340"/>
            <a:ext cx="1389062" cy="115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8422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0" r:id="rId1"/>
    <p:sldLayoutId id="2147484551" r:id="rId2"/>
    <p:sldLayoutId id="2147484552" r:id="rId3"/>
    <p:sldLayoutId id="2147484553" r:id="rId4"/>
    <p:sldLayoutId id="2147484554" r:id="rId5"/>
    <p:sldLayoutId id="2147484555" r:id="rId6"/>
    <p:sldLayoutId id="2147484556" r:id="rId7"/>
    <p:sldLayoutId id="2147484557" r:id="rId8"/>
    <p:sldLayoutId id="2147484558" r:id="rId9"/>
    <p:sldLayoutId id="2147484559" r:id="rId10"/>
    <p:sldLayoutId id="214748456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5pPr>
      <a:lvl6pPr marL="3640528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itelmasterformat durch Klicken bearbeiten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extmasterformate durch Klicken bearbeiten</a:t>
            </a:r>
          </a:p>
          <a:p>
            <a:pPr lvl="1"/>
            <a:r>
              <a:rPr lang="en-GB" altLang="ru-RU"/>
              <a:t>Zweite Ebene</a:t>
            </a:r>
          </a:p>
          <a:p>
            <a:pPr lvl="2"/>
            <a:r>
              <a:rPr lang="en-GB" altLang="ru-RU"/>
              <a:t>Dritte Ebene</a:t>
            </a:r>
          </a:p>
          <a:p>
            <a:pPr lvl="3"/>
            <a:r>
              <a:rPr lang="en-GB" altLang="ru-RU"/>
              <a:t>Vierte Ebene</a:t>
            </a:r>
          </a:p>
          <a:p>
            <a:pPr lvl="4"/>
            <a:r>
              <a:rPr lang="en-GB" altLang="ru-RU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 baseline="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 baseline="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47B15F7-529A-4E7E-8601-0A7307941B5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7174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5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6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7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8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79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180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baseline="30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aseline="30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2520" baseline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047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  <p:sldLayoutId id="2147484563" r:id="rId2"/>
    <p:sldLayoutId id="2147484564" r:id="rId3"/>
    <p:sldLayoutId id="2147484565" r:id="rId4"/>
    <p:sldLayoutId id="2147484566" r:id="rId5"/>
    <p:sldLayoutId id="2147484567" r:id="rId6"/>
    <p:sldLayoutId id="2147484568" r:id="rId7"/>
    <p:sldLayoutId id="2147484569" r:id="rId8"/>
    <p:sldLayoutId id="2147484570" r:id="rId9"/>
    <p:sldLayoutId id="2147484571" r:id="rId10"/>
    <p:sldLayoutId id="214748457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MS PGothic" pitchFamily="34" charset="-128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ＭＳ Ｐゴシック" pitchFamily="34" charset="-128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ＭＳ Ｐゴシック" pitchFamily="34" charset="-128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ＭＳ Ｐゴシック" pitchFamily="34" charset="-128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MS PGothic" pitchFamily="34" charset="-128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MS PGothic" pitchFamily="34" charset="-128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  <a:ea typeface="MS PGothic" pitchFamily="34" charset="-128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  <a:ea typeface="MS PGothic" pitchFamily="34" charset="-128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MS PGothic" pitchFamily="34" charset="-128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+mn-ea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+mn-ea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+mn-ea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0120" y="853440"/>
            <a:ext cx="1088136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inding tomorrow today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60120" y="2667000"/>
            <a:ext cx="10881360" cy="576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53316" name="Rectangle 4"/>
          <p:cNvSpPr>
            <a:spLocks noChangeArrowheads="1"/>
          </p:cNvSpPr>
          <p:nvPr/>
        </p:nvSpPr>
        <p:spPr bwMode="auto">
          <a:xfrm>
            <a:off x="2223" y="0"/>
            <a:ext cx="175577" cy="3200400"/>
          </a:xfrm>
          <a:prstGeom prst="rect">
            <a:avLst/>
          </a:prstGeom>
          <a:solidFill>
            <a:srgbClr val="B9BB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53317" name="Rectangle 5"/>
          <p:cNvSpPr>
            <a:spLocks noChangeArrowheads="1"/>
          </p:cNvSpPr>
          <p:nvPr/>
        </p:nvSpPr>
        <p:spPr bwMode="auto">
          <a:xfrm>
            <a:off x="2" y="6400800"/>
            <a:ext cx="175578" cy="3200400"/>
          </a:xfrm>
          <a:prstGeom prst="rect">
            <a:avLst/>
          </a:prstGeom>
          <a:solidFill>
            <a:srgbClr val="51535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53318" name="Rectangle 6"/>
          <p:cNvSpPr>
            <a:spLocks noChangeArrowheads="1"/>
          </p:cNvSpPr>
          <p:nvPr/>
        </p:nvSpPr>
        <p:spPr bwMode="auto">
          <a:xfrm>
            <a:off x="162243" y="0"/>
            <a:ext cx="175577" cy="3200400"/>
          </a:xfrm>
          <a:prstGeom prst="rect">
            <a:avLst/>
          </a:prstGeom>
          <a:solidFill>
            <a:srgbClr val="005B8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53319" name="Rectangle 7"/>
          <p:cNvSpPr>
            <a:spLocks noChangeArrowheads="1"/>
          </p:cNvSpPr>
          <p:nvPr/>
        </p:nvSpPr>
        <p:spPr bwMode="auto">
          <a:xfrm>
            <a:off x="160022" y="3200400"/>
            <a:ext cx="175578" cy="3200400"/>
          </a:xfrm>
          <a:prstGeom prst="rect">
            <a:avLst/>
          </a:prstGeom>
          <a:solidFill>
            <a:srgbClr val="B9BB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FFFFFF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53320" name="Rectangle 8"/>
          <p:cNvSpPr>
            <a:spLocks noChangeArrowheads="1"/>
          </p:cNvSpPr>
          <p:nvPr/>
        </p:nvSpPr>
        <p:spPr bwMode="auto">
          <a:xfrm>
            <a:off x="160022" y="6400800"/>
            <a:ext cx="175578" cy="3200400"/>
          </a:xfrm>
          <a:prstGeom prst="rect">
            <a:avLst/>
          </a:prstGeom>
          <a:solidFill>
            <a:srgbClr val="DCDCD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endParaRPr lang="de-DE" sz="4704">
              <a:solidFill>
                <a:srgbClr val="000000"/>
              </a:solidFill>
              <a:latin typeface="Arial" charset="0"/>
              <a:ea typeface="ＭＳ Ｐゴシック" charset="-128"/>
            </a:endParaRPr>
          </a:p>
        </p:txBody>
      </p:sp>
      <p:sp>
        <p:nvSpPr>
          <p:cNvPr id="653322" name="Text Box 10"/>
          <p:cNvSpPr txBox="1">
            <a:spLocks noChangeArrowheads="1"/>
          </p:cNvSpPr>
          <p:nvPr/>
        </p:nvSpPr>
        <p:spPr bwMode="auto">
          <a:xfrm>
            <a:off x="640080" y="9067800"/>
            <a:ext cx="11734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de-DE" sz="1400" dirty="0">
                <a:solidFill>
                  <a:srgbClr val="3A6F8A"/>
                </a:solidFill>
                <a:latin typeface="Arial" charset="0"/>
                <a:ea typeface="ＭＳ Ｐゴシック" charset="-128"/>
              </a:rPr>
              <a:t>		                            Jim Ritman									                                        		 		   </a:t>
            </a:r>
            <a:fld id="{10F37CC4-9A29-42E3-8F0E-C2C8EEDB17B8}" type="slidenum">
              <a:rPr lang="de-DE" sz="1400">
                <a:solidFill>
                  <a:srgbClr val="3A6F8A"/>
                </a:solidFill>
                <a:latin typeface="Arial" charset="0"/>
                <a:ea typeface="ＭＳ Ｐゴシック" charset="-128"/>
              </a:rPr>
              <a:pPr algn="ctr" eaLnBrk="0" hangingPunct="0">
                <a:spcBef>
                  <a:spcPct val="50000"/>
                </a:spcBef>
                <a:defRPr/>
              </a:pPr>
              <a:t>‹#›</a:t>
            </a:fld>
            <a:endParaRPr lang="de-DE" sz="1400" dirty="0">
              <a:solidFill>
                <a:srgbClr val="3A6F8A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2058" name="Picture 12" descr="Logo_FZ_Jülich_NEU_rgb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454640" y="177800"/>
            <a:ext cx="2026920" cy="657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7063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8" r:id="rId1"/>
    <p:sldLayoutId id="2147484599" r:id="rId2"/>
    <p:sldLayoutId id="2147484600" r:id="rId3"/>
    <p:sldLayoutId id="2147484601" r:id="rId4"/>
    <p:sldLayoutId id="2147484602" r:id="rId5"/>
    <p:sldLayoutId id="2147484603" r:id="rId6"/>
    <p:sldLayoutId id="2147484604" r:id="rId7"/>
    <p:sldLayoutId id="2147484605" r:id="rId8"/>
    <p:sldLayoutId id="2147484606" r:id="rId9"/>
    <p:sldLayoutId id="2147484607" r:id="rId10"/>
    <p:sldLayoutId id="2147484608" r:id="rId11"/>
    <p:sldLayoutId id="2147484609" r:id="rId12"/>
    <p:sldLayoutId id="2147484610" r:id="rId13"/>
    <p:sldLayoutId id="2147484611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640" b="1">
          <a:solidFill>
            <a:srgbClr val="005B82"/>
          </a:solidFill>
          <a:latin typeface="Arial" charset="0"/>
        </a:defRPr>
      </a:lvl9pPr>
    </p:titleStyle>
    <p:bodyStyle>
      <a:lvl1pPr marL="480070" indent="-480070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•"/>
        <a:defRPr sz="3080">
          <a:solidFill>
            <a:schemeClr val="tx1"/>
          </a:solidFill>
          <a:latin typeface="+mn-lt"/>
          <a:ea typeface="+mn-ea"/>
          <a:cs typeface="+mn-cs"/>
        </a:defRPr>
      </a:lvl1pPr>
      <a:lvl2pPr marL="1040151" indent="-400058" algn="l" rtl="0" eaLnBrk="0" fontAlgn="base" hangingPunct="0">
        <a:spcBef>
          <a:spcPct val="20000"/>
        </a:spcBef>
        <a:spcAft>
          <a:spcPct val="0"/>
        </a:spcAft>
        <a:buClr>
          <a:srgbClr val="005B82"/>
        </a:buClr>
        <a:buFont typeface="Wingdings" pitchFamily="2" charset="2"/>
        <a:buChar char="§"/>
        <a:defRPr sz="3080">
          <a:solidFill>
            <a:schemeClr val="tx1"/>
          </a:solidFill>
          <a:latin typeface="+mn-lt"/>
        </a:defRPr>
      </a:lvl2pPr>
      <a:lvl3pPr marL="1600232" indent="-320047" algn="l" rtl="0" eaLnBrk="0" fontAlgn="base" hangingPunct="0">
        <a:spcBef>
          <a:spcPct val="20000"/>
        </a:spcBef>
        <a:spcAft>
          <a:spcPct val="0"/>
        </a:spcAft>
        <a:buClr>
          <a:srgbClr val="005B82"/>
        </a:buClr>
        <a:buFont typeface="Wingdings" pitchFamily="2" charset="2"/>
        <a:buChar char="§"/>
        <a:defRPr sz="3080" i="1">
          <a:solidFill>
            <a:schemeClr val="tx1"/>
          </a:solidFill>
          <a:latin typeface="+mn-lt"/>
        </a:defRPr>
      </a:lvl3pPr>
      <a:lvl4pPr marL="2240325" indent="-320047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–"/>
        <a:defRPr sz="2800">
          <a:solidFill>
            <a:schemeClr val="tx1"/>
          </a:solidFill>
          <a:latin typeface="+mn-lt"/>
        </a:defRPr>
      </a:lvl4pPr>
      <a:lvl5pPr marL="2880417" indent="-320047" algn="l" rtl="0" eaLnBrk="0" fontAlgn="base" hangingPunct="0">
        <a:spcBef>
          <a:spcPct val="20000"/>
        </a:spcBef>
        <a:spcAft>
          <a:spcPct val="0"/>
        </a:spcAft>
        <a:buClr>
          <a:srgbClr val="009EE0"/>
        </a:buClr>
        <a:buChar char="»"/>
        <a:defRPr sz="2800">
          <a:solidFill>
            <a:schemeClr val="tx1"/>
          </a:solidFill>
          <a:latin typeface="+mn-lt"/>
        </a:defRPr>
      </a:lvl5pPr>
      <a:lvl6pPr marL="3520510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6pPr>
      <a:lvl7pPr marL="4160603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7pPr>
      <a:lvl8pPr marL="4800697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8pPr>
      <a:lvl9pPr marL="5440789" indent="-320047" algn="l" rtl="0" fontAlgn="base">
        <a:spcBef>
          <a:spcPct val="20000"/>
        </a:spcBef>
        <a:spcAft>
          <a:spcPct val="0"/>
        </a:spcAft>
        <a:buClr>
          <a:srgbClr val="009EE0"/>
        </a:buClr>
        <a:defRPr sz="28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B4323D6-EE3D-4048-84EC-ED7E3A6492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61620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/>
              <a:t>Textmasterformate durch Klicken bearbeiten</a:t>
            </a:r>
          </a:p>
          <a:p>
            <a:pPr lvl="1"/>
            <a:r>
              <a:rPr lang="en-GB" altLang="de-DE"/>
              <a:t>Zweite Ebene</a:t>
            </a:r>
          </a:p>
          <a:p>
            <a:pPr lvl="2"/>
            <a:r>
              <a:rPr lang="en-GB" altLang="de-DE"/>
              <a:t>Dritte Ebene</a:t>
            </a:r>
          </a:p>
          <a:p>
            <a:pPr lvl="3"/>
            <a:r>
              <a:rPr lang="en-GB" altLang="de-DE"/>
              <a:t>Vierte Ebene</a:t>
            </a:r>
          </a:p>
          <a:p>
            <a:pPr lvl="4"/>
            <a:r>
              <a:rPr lang="en-GB" alt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3585075-FD7A-4005-9B3D-AB5D8A66E66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3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de-DE" altLang="de-DE" sz="2520">
              <a:solidFill>
                <a:srgbClr val="000000"/>
              </a:solidFill>
              <a:cs typeface="+mn-cs"/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-51116" y="9250047"/>
            <a:ext cx="6149658" cy="3511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ClrTx/>
              <a:buFontTx/>
              <a:buNone/>
              <a:defRPr sz="1680">
                <a:solidFill>
                  <a:srgbClr val="00599D"/>
                </a:solidFill>
                <a:latin typeface="Arial" charset="0"/>
                <a:cs typeface="+mn-cs"/>
              </a:defRPr>
            </a:lvl1pPr>
            <a:lvl2pPr marL="1040151" indent="-400058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Char char="§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600232" indent="-320047" eaLnBrk="0" hangingPunct="0">
              <a:spcBef>
                <a:spcPct val="20000"/>
              </a:spcBef>
              <a:buChar char="•"/>
              <a:defRPr sz="3360">
                <a:solidFill>
                  <a:schemeClr val="tx1"/>
                </a:solidFill>
                <a:latin typeface="Arial" charset="0"/>
              </a:defRPr>
            </a:lvl3pPr>
            <a:lvl4pPr marL="2240325" indent="-320047" eaLnBrk="0" hangingPunct="0">
              <a:spcBef>
                <a:spcPct val="20000"/>
              </a:spcBef>
              <a:buChar char="–"/>
              <a:defRPr sz="2240" i="1">
                <a:solidFill>
                  <a:srgbClr val="990000"/>
                </a:solidFill>
                <a:latin typeface="Arial" charset="0"/>
              </a:defRPr>
            </a:lvl4pPr>
            <a:lvl5pPr marL="2880417" indent="-320047" eaLnBrk="0" hangingPunct="0">
              <a:spcBef>
                <a:spcPct val="20000"/>
              </a:spcBef>
              <a:buChar char="»"/>
              <a:defRPr sz="2240">
                <a:solidFill>
                  <a:srgbClr val="0066CC"/>
                </a:solidFill>
                <a:latin typeface="Arial" charset="0"/>
              </a:defRPr>
            </a:lvl5pPr>
            <a:lvl6pPr marL="3520510" indent="-320047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40">
                <a:solidFill>
                  <a:srgbClr val="0066CC"/>
                </a:solidFill>
                <a:latin typeface="Arial" charset="0"/>
              </a:defRPr>
            </a:lvl6pPr>
            <a:lvl7pPr marL="4160603" indent="-320047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40">
                <a:solidFill>
                  <a:srgbClr val="0066CC"/>
                </a:solidFill>
                <a:latin typeface="Arial" charset="0"/>
              </a:defRPr>
            </a:lvl7pPr>
            <a:lvl8pPr marL="4800697" indent="-320047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40">
                <a:solidFill>
                  <a:srgbClr val="0066CC"/>
                </a:solidFill>
                <a:latin typeface="Arial" charset="0"/>
              </a:defRPr>
            </a:lvl8pPr>
            <a:lvl9pPr marL="5440789" indent="-320047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40">
                <a:solidFill>
                  <a:srgbClr val="0066CC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452748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endParaRPr lang="de-DE">
              <a:latin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>
                <a:latin typeface="Arial" charset="0"/>
              </a:rPr>
              <a:pPr>
                <a:defRPr/>
              </a:pPr>
              <a:t>‹#›</a:t>
            </a:fld>
            <a:endParaRPr lang="de-DE">
              <a:latin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1061385" y="53340"/>
            <a:ext cx="1389062" cy="115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12313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4" r:id="rId1"/>
    <p:sldLayoutId id="2147484675" r:id="rId2"/>
    <p:sldLayoutId id="2147484676" r:id="rId3"/>
    <p:sldLayoutId id="2147484677" r:id="rId4"/>
    <p:sldLayoutId id="2147484678" r:id="rId5"/>
    <p:sldLayoutId id="2147484679" r:id="rId6"/>
    <p:sldLayoutId id="2147484680" r:id="rId7"/>
    <p:sldLayoutId id="2147484681" r:id="rId8"/>
    <p:sldLayoutId id="2147484682" r:id="rId9"/>
    <p:sldLayoutId id="2147484683" r:id="rId10"/>
    <p:sldLayoutId id="214748468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5pPr>
      <a:lvl6pPr marL="3640528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DF5CBD2-B9EC-45AD-AECE-2B902A2101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49300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endParaRPr lang="de-DE">
              <a:latin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>
                <a:latin typeface="Arial" charset="0"/>
              </a:rPr>
              <a:pPr>
                <a:defRPr/>
              </a:pPr>
              <a:t>‹#›</a:t>
            </a:fld>
            <a:endParaRPr lang="de-DE">
              <a:latin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11061385" y="53340"/>
            <a:ext cx="1389062" cy="115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2517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1" r:id="rId1"/>
    <p:sldLayoutId id="2147484812" r:id="rId2"/>
    <p:sldLayoutId id="2147484813" r:id="rId3"/>
    <p:sldLayoutId id="2147484814" r:id="rId4"/>
    <p:sldLayoutId id="2147484815" r:id="rId5"/>
    <p:sldLayoutId id="2147484816" r:id="rId6"/>
    <p:sldLayoutId id="2147484817" r:id="rId7"/>
    <p:sldLayoutId id="2147484818" r:id="rId8"/>
    <p:sldLayoutId id="2147484819" r:id="rId9"/>
    <p:sldLayoutId id="2147484820" r:id="rId10"/>
    <p:sldLayoutId id="214748482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5pPr>
      <a:lvl6pPr marL="3640528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40093"/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40093"/>
            <a:endParaRPr lang="en-GB" alt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defTabSz="640093"/>
            <a:fld id="{65E553A4-501A-4150-A61D-3B8B650A4E6A}" type="slidenum">
              <a:rPr lang="en-GB" altLang="en-US" smtClean="0">
                <a:solidFill>
                  <a:prstClr val="black"/>
                </a:solidFill>
              </a:rPr>
              <a:pPr defTabSz="640093"/>
              <a:t>‹#›</a:t>
            </a:fld>
            <a:endParaRPr lang="en-GB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627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3" r:id="rId1"/>
    <p:sldLayoutId id="2147484824" r:id="rId2"/>
    <p:sldLayoutId id="2147484825" r:id="rId3"/>
    <p:sldLayoutId id="2147484826" r:id="rId4"/>
    <p:sldLayoutId id="2147484827" r:id="rId5"/>
    <p:sldLayoutId id="2147484828" r:id="rId6"/>
    <p:sldLayoutId id="2147484829" r:id="rId7"/>
    <p:sldLayoutId id="2147484830" r:id="rId8"/>
    <p:sldLayoutId id="2147484831" r:id="rId9"/>
    <p:sldLayoutId id="2147484832" r:id="rId10"/>
    <p:sldLayoutId id="2147484833" r:id="rId11"/>
    <p:sldLayoutId id="2147484834" r:id="rId12"/>
    <p:sldLayoutId id="2147484835" r:id="rId13"/>
    <p:sldLayoutId id="2147484836" r:id="rId14"/>
    <p:sldLayoutId id="2147484837" r:id="rId15"/>
    <p:sldLayoutId id="2147484838" r:id="rId16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/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defRPr/>
            </a:pPr>
            <a:endParaRPr lang="de-DE" sz="3920">
              <a:solidFill>
                <a:srgbClr val="00599D"/>
              </a:solidFill>
              <a:latin typeface="Arial"/>
            </a:endParaRPr>
          </a:p>
        </p:txBody>
      </p:sp>
      <p:sp>
        <p:nvSpPr>
          <p:cNvPr id="80899" name="Rectangle 3"/>
          <p:cNvSpPr>
            <a:spLocks noGrp="1" noChangeArrowheads="1"/>
          </p:cNvSpPr>
          <p:nvPr/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20018" indent="-120018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/>
            </a:pPr>
            <a:endParaRPr lang="de-DE" sz="4704">
              <a:solidFill>
                <a:srgbClr val="00599D"/>
              </a:solidFill>
              <a:latin typeface="Arial"/>
            </a:endParaRPr>
          </a:p>
        </p:txBody>
      </p:sp>
      <p:sp>
        <p:nvSpPr>
          <p:cNvPr id="1434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434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36009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84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31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2E854FF4-774B-4A7E-8663-9CCD7DE4A4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748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extmasterformate durch Klicken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endParaRPr lang="de-DE" dirty="0">
              <a:latin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fld id="{D1837C9B-6D25-44C5-9880-48640EF0EB05}" type="slidenum">
              <a:rPr lang="de-DE">
                <a:latin typeface="Arial" charset="0"/>
              </a:rPr>
              <a:pPr>
                <a:defRPr/>
              </a:pPr>
              <a:t>‹#›</a:t>
            </a:fld>
            <a:endParaRPr lang="de-DE">
              <a:latin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1061385" y="53340"/>
            <a:ext cx="1389062" cy="1157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0785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eaLnBrk="1" fontAlgn="base" hangingPunct="1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5pPr>
      <a:lvl6pPr marL="3640528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eaLnBrk="1" fontAlgn="base" hangingPunct="1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itelmasterformat durch Klicken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extmasterformate durch Klicken bearbeiten</a:t>
            </a:r>
          </a:p>
          <a:p>
            <a:pPr lvl="1"/>
            <a:r>
              <a:rPr lang="en-GB" altLang="ru-RU"/>
              <a:t>Zweite Ebene</a:t>
            </a:r>
          </a:p>
          <a:p>
            <a:pPr lvl="2"/>
            <a:r>
              <a:rPr lang="en-GB" altLang="ru-RU"/>
              <a:t>Dritte Ebene</a:t>
            </a:r>
          </a:p>
          <a:p>
            <a:pPr lvl="3"/>
            <a:r>
              <a:rPr lang="en-GB" altLang="ru-RU"/>
              <a:t>Vierte Ebene</a:t>
            </a:r>
          </a:p>
          <a:p>
            <a:pPr lvl="4"/>
            <a:r>
              <a:rPr lang="en-GB" altLang="ru-RU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3A7F9B92-8915-4E0F-A168-73306231B84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252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22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4" r:id="rId14"/>
    <p:sldLayoutId id="2147484135" r:id="rId15"/>
    <p:sldLayoutId id="2147484136" r:id="rId16"/>
    <p:sldLayoutId id="2147484137" r:id="rId1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+mn-ea"/>
          <a:cs typeface="+mn-cs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2275" y="315595"/>
            <a:ext cx="12048172" cy="686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275" y="1575753"/>
            <a:ext cx="12048172" cy="735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extmasterformate durch Klicken bearbeiten</a:t>
            </a:r>
          </a:p>
          <a:p>
            <a:pPr lvl="1"/>
            <a:r>
              <a:rPr lang="en-GB" altLang="ru-RU"/>
              <a:t>Zweite Ebene</a:t>
            </a:r>
          </a:p>
          <a:p>
            <a:pPr lvl="2"/>
            <a:r>
              <a:rPr lang="en-GB" altLang="ru-RU"/>
              <a:t>Dritte Ebene</a:t>
            </a:r>
          </a:p>
          <a:p>
            <a:pPr lvl="3"/>
            <a:r>
              <a:rPr lang="en-GB" altLang="ru-RU"/>
              <a:t>Vierte Ebene</a:t>
            </a:r>
          </a:p>
          <a:p>
            <a:pPr lvl="4"/>
            <a:r>
              <a:rPr lang="en-GB" altLang="ru-RU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51116" y="9250047"/>
            <a:ext cx="6149658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680">
                <a:solidFill>
                  <a:srgbClr val="00599D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43678" y="9250047"/>
            <a:ext cx="1020127" cy="351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680">
                <a:solidFill>
                  <a:srgbClr val="00599D"/>
                </a:solidFill>
                <a:latin typeface="Arial" charset="0"/>
                <a:ea typeface="ＭＳ Ｐゴシック" pitchFamily="-110" charset="-128"/>
                <a:cs typeface="+mn-cs"/>
              </a:defRPr>
            </a:lvl1pPr>
          </a:lstStyle>
          <a:p>
            <a:pPr>
              <a:defRPr/>
            </a:pPr>
            <a:fld id="{43A6E21E-4C51-4321-A799-AE7AE77958C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0" name="Rectangle 8"/>
          <p:cNvSpPr>
            <a:spLocks noChangeArrowheads="1"/>
          </p:cNvSpPr>
          <p:nvPr userDrawn="1"/>
        </p:nvSpPr>
        <p:spPr bwMode="auto">
          <a:xfrm>
            <a:off x="6098540" y="9250045"/>
            <a:ext cx="1966913" cy="117793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1" name="Rectangle 9"/>
          <p:cNvSpPr>
            <a:spLocks noChangeArrowheads="1"/>
          </p:cNvSpPr>
          <p:nvPr userDrawn="1"/>
        </p:nvSpPr>
        <p:spPr bwMode="auto">
          <a:xfrm>
            <a:off x="8061010" y="9250045"/>
            <a:ext cx="1966912" cy="117793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2" name="Rectangle 10"/>
          <p:cNvSpPr>
            <a:spLocks noChangeArrowheads="1"/>
          </p:cNvSpPr>
          <p:nvPr userDrawn="1"/>
        </p:nvSpPr>
        <p:spPr bwMode="auto">
          <a:xfrm>
            <a:off x="10027920" y="9250045"/>
            <a:ext cx="1966913" cy="117793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3" name="Rectangle 11"/>
          <p:cNvSpPr>
            <a:spLocks noChangeArrowheads="1"/>
          </p:cNvSpPr>
          <p:nvPr userDrawn="1"/>
        </p:nvSpPr>
        <p:spPr bwMode="auto">
          <a:xfrm>
            <a:off x="0" y="91344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4" name="Rectangle 12"/>
          <p:cNvSpPr>
            <a:spLocks noChangeArrowheads="1"/>
          </p:cNvSpPr>
          <p:nvPr userDrawn="1"/>
        </p:nvSpPr>
        <p:spPr bwMode="auto">
          <a:xfrm>
            <a:off x="8061010" y="9367838"/>
            <a:ext cx="3933825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5" name="Rectangle 13"/>
          <p:cNvSpPr>
            <a:spLocks noChangeArrowheads="1"/>
          </p:cNvSpPr>
          <p:nvPr userDrawn="1"/>
        </p:nvSpPr>
        <p:spPr bwMode="auto">
          <a:xfrm>
            <a:off x="6098540" y="9485630"/>
            <a:ext cx="1966913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  <p:sp>
        <p:nvSpPr>
          <p:cNvPr id="1036" name="Rectangle 14"/>
          <p:cNvSpPr>
            <a:spLocks noChangeArrowheads="1"/>
          </p:cNvSpPr>
          <p:nvPr userDrawn="1"/>
        </p:nvSpPr>
        <p:spPr bwMode="auto">
          <a:xfrm>
            <a:off x="0" y="1222375"/>
            <a:ext cx="12801600" cy="11557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endParaRPr lang="ru-RU" altLang="ru-RU" sz="252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57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86" r:id="rId11"/>
    <p:sldLayoutId id="2147484187" r:id="rId12"/>
    <p:sldLayoutId id="2147484188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+mj-lt"/>
          <a:ea typeface="MS PGothic" pitchFamily="34" charset="-128"/>
          <a:cs typeface="ＭＳ Ｐゴシック" pitchFamily="-11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MS PGothic" pitchFamily="34" charset="-128"/>
          <a:cs typeface="ＭＳ Ｐゴシック" pitchFamily="-11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MS PGothic" pitchFamily="34" charset="-128"/>
          <a:cs typeface="ＭＳ Ｐゴシック" pitchFamily="-11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MS PGothic" pitchFamily="34" charset="-128"/>
          <a:cs typeface="ＭＳ Ｐゴシック" pitchFamily="-11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  <a:ea typeface="MS PGothic" pitchFamily="34" charset="-128"/>
          <a:cs typeface="ＭＳ Ｐゴシック" pitchFamily="-110" charset="-128"/>
        </a:defRPr>
      </a:lvl5pPr>
      <a:lvl6pPr marL="640093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6pPr>
      <a:lvl7pPr marL="1280185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7pPr>
      <a:lvl8pPr marL="1920278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8pPr>
      <a:lvl9pPr marL="2560372" algn="l" rtl="0" fontAlgn="base">
        <a:spcBef>
          <a:spcPct val="0"/>
        </a:spcBef>
        <a:spcAft>
          <a:spcPct val="0"/>
        </a:spcAft>
        <a:defRPr sz="3920">
          <a:solidFill>
            <a:srgbClr val="00599D"/>
          </a:solidFill>
          <a:latin typeface="Arial" charset="0"/>
        </a:defRPr>
      </a:lvl9pPr>
    </p:titleStyle>
    <p:bodyStyle>
      <a:lvl1pPr marL="120018" indent="-120018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3360">
          <a:solidFill>
            <a:srgbClr val="00599D"/>
          </a:solidFill>
          <a:latin typeface="+mn-lt"/>
          <a:ea typeface="MS PGothic" pitchFamily="34" charset="-128"/>
          <a:cs typeface="ＭＳ Ｐゴシック" pitchFamily="-110" charset="-128"/>
        </a:defRPr>
      </a:lvl1pPr>
      <a:lvl2pPr marL="586751" indent="-373387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8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720104" indent="560081" algn="l" rtl="0" eaLnBrk="0" fontAlgn="base" hangingPunct="0">
        <a:spcBef>
          <a:spcPct val="20000"/>
        </a:spcBef>
        <a:spcAft>
          <a:spcPct val="0"/>
        </a:spcAft>
        <a:buChar char="•"/>
        <a:defRPr sz="336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000145" indent="-28893" algn="l" rtl="0" eaLnBrk="0" fontAlgn="base" hangingPunct="0">
        <a:spcBef>
          <a:spcPct val="20000"/>
        </a:spcBef>
        <a:spcAft>
          <a:spcPct val="0"/>
        </a:spcAft>
        <a:buChar char="–"/>
        <a:defRPr sz="2240" i="1">
          <a:solidFill>
            <a:srgbClr val="990000"/>
          </a:solidFill>
          <a:latin typeface="+mn-lt"/>
          <a:ea typeface="MS PGothic" pitchFamily="34" charset="-128"/>
          <a:cs typeface="ＭＳ Ｐゴシック"/>
        </a:defRPr>
      </a:lvl4pPr>
      <a:lvl5pPr marL="3000435" indent="-1746920" algn="l" rtl="0" eaLnBrk="0" fontAlgn="base" hangingPunct="0">
        <a:spcBef>
          <a:spcPct val="20000"/>
        </a:spcBef>
        <a:spcAft>
          <a:spcPct val="0"/>
        </a:spcAft>
        <a:buChar char="»"/>
        <a:defRPr sz="2240">
          <a:solidFill>
            <a:srgbClr val="0066CC"/>
          </a:solidFill>
          <a:latin typeface="+mn-lt"/>
          <a:ea typeface="MS PGothic" pitchFamily="34" charset="-128"/>
          <a:cs typeface="ＭＳ Ｐゴシック"/>
        </a:defRPr>
      </a:lvl5pPr>
      <a:lvl6pPr marL="3640528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6pPr>
      <a:lvl7pPr marL="4280620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7pPr>
      <a:lvl8pPr marL="4920713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8pPr>
      <a:lvl9pPr marL="5560806" indent="-1746920" algn="l" rtl="0" fontAlgn="base">
        <a:spcBef>
          <a:spcPct val="20000"/>
        </a:spcBef>
        <a:spcAft>
          <a:spcPct val="0"/>
        </a:spcAft>
        <a:defRPr sz="224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801600" cy="1300163"/>
          </a:xfrm>
          <a:prstGeom prst="rect">
            <a:avLst/>
          </a:prstGeom>
          <a:ln w="3175">
            <a:solidFill>
              <a:schemeClr val="tx2">
                <a:lumMod val="25000"/>
                <a:lumOff val="7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  <a:endParaRPr lang="en-GB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0040" y="1400177"/>
            <a:ext cx="12201525" cy="740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038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06534" y="8898892"/>
            <a:ext cx="4788532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4523" y="8898892"/>
            <a:ext cx="29870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Clr>
                <a:srgbClr val="000000"/>
              </a:buClr>
              <a:buSzPct val="100000"/>
              <a:buFont typeface="Times New Roman" pitchFamily="18" charset="0"/>
              <a:buNone/>
              <a:defRPr sz="1540" b="0" smtClean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318FD4D-F9D6-4FD7-A96E-8F0752404E5C}" type="slidenum">
              <a:rPr lang="en-GB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875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199" r:id="rId10"/>
    <p:sldLayoutId id="2147484200" r:id="rId11"/>
    <p:sldLayoutId id="2147484201" r:id="rId12"/>
    <p:sldLayoutId id="2147484202" r:id="rId13"/>
    <p:sldLayoutId id="2147484203" r:id="rId14"/>
    <p:sldLayoutId id="2147484204" r:id="rId15"/>
    <p:sldLayoutId id="2147484205" r:id="rId16"/>
    <p:sldLayoutId id="2147484206" r:id="rId17"/>
  </p:sldLayoutIdLst>
  <p:transition spd="slow"/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6160" kern="1200">
          <a:solidFill>
            <a:srgbClr val="14425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5pPr>
      <a:lvl6pPr marL="640093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6pPr>
      <a:lvl7pPr marL="1280185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7pPr>
      <a:lvl8pPr marL="1920278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8pPr>
      <a:lvl9pPr marL="2560372" algn="ctr" rtl="0" eaLnBrk="1" fontAlgn="base" hangingPunct="1">
        <a:spcBef>
          <a:spcPct val="0"/>
        </a:spcBef>
        <a:spcAft>
          <a:spcPct val="0"/>
        </a:spcAft>
        <a:defRPr sz="6160">
          <a:solidFill>
            <a:srgbClr val="14425D"/>
          </a:solidFill>
          <a:latin typeface="Verdana" pitchFamily="34" charset="0"/>
        </a:defRPr>
      </a:lvl9pPr>
    </p:titleStyle>
    <p:bodyStyle>
      <a:lvl1pPr marL="480070" indent="-48007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4480" kern="1200">
          <a:solidFill>
            <a:schemeClr val="accent2"/>
          </a:solidFill>
          <a:latin typeface="+mn-lt"/>
          <a:ea typeface="+mn-ea"/>
          <a:cs typeface="+mn-cs"/>
        </a:defRPr>
      </a:lvl1pPr>
      <a:lvl2pPr marL="1040151" indent="-40005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920" kern="1200">
          <a:solidFill>
            <a:srgbClr val="1B587C"/>
          </a:solidFill>
          <a:latin typeface="+mn-lt"/>
          <a:ea typeface="+mn-ea"/>
          <a:cs typeface="+mn-cs"/>
        </a:defRPr>
      </a:lvl2pPr>
      <a:lvl3pPr marL="1600232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360" kern="1200">
          <a:solidFill>
            <a:srgbClr val="4E8542"/>
          </a:solidFill>
          <a:latin typeface="+mn-lt"/>
          <a:ea typeface="+mn-ea"/>
          <a:cs typeface="+mn-cs"/>
        </a:defRPr>
      </a:lvl3pPr>
      <a:lvl4pPr marL="2240325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rgbClr val="604878"/>
          </a:solidFill>
          <a:latin typeface="+mn-lt"/>
          <a:ea typeface="+mn-ea"/>
          <a:cs typeface="+mn-cs"/>
        </a:defRPr>
      </a:lvl4pPr>
      <a:lvl5pPr marL="2880417" indent="-32004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800" kern="1200">
          <a:solidFill>
            <a:srgbClr val="C19859"/>
          </a:solidFill>
          <a:latin typeface="+mn-lt"/>
          <a:ea typeface="+mn-ea"/>
          <a:cs typeface="+mn-cs"/>
        </a:defRPr>
      </a:lvl5pPr>
      <a:lvl6pPr marL="3520510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603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97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789" indent="-320047" algn="l" defTabSz="1280185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93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85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78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7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64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557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650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742" algn="l" defTabSz="1280185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6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6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6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slideLayout" Target="../slideLayouts/slideLayout26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6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tags" Target="../tags/tag63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oleObject" Target="../embeddings/oleObject10.bin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slideLayout" Target="../slideLayouts/slideLayout2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2418935-0B16-4EE5-AD0B-9612722F33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489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2418935-0B16-4EE5-AD0B-9612722F3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D386F73-168B-4AD9-9FD9-C4800AB642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i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04533" y="3387090"/>
            <a:ext cx="11290300" cy="2018030"/>
          </a:xfrm>
        </p:spPr>
        <p:txBody>
          <a:bodyPr/>
          <a:lstStyle/>
          <a:p>
            <a:pPr algn="ctr"/>
            <a:r>
              <a:rPr lang="en-US" sz="4000" b="1" dirty="0"/>
              <a:t>CR BINP-Workshop 21.05.2019 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r>
              <a:rPr lang="de-DE" sz="4000" i="1" dirty="0" smtClean="0"/>
              <a:t>Overall </a:t>
            </a:r>
            <a:r>
              <a:rPr lang="de-DE" sz="4000" i="1" dirty="0" err="1"/>
              <a:t>process</a:t>
            </a:r>
            <a:r>
              <a:rPr lang="de-DE" sz="4000" i="1" dirty="0"/>
              <a:t> </a:t>
            </a:r>
            <a:r>
              <a:rPr lang="de-DE" sz="4000" i="1" dirty="0" err="1"/>
              <a:t>analysis</a:t>
            </a:r>
            <a:r>
              <a:rPr lang="en-US" sz="4000" i="1" dirty="0"/>
              <a:t> m</a:t>
            </a:r>
            <a:r>
              <a:rPr lang="de-DE" sz="4000" i="1" dirty="0" err="1"/>
              <a:t>achine</a:t>
            </a:r>
            <a:r>
              <a:rPr lang="de-DE" sz="4000" i="1" dirty="0"/>
              <a:t> </a:t>
            </a:r>
            <a:r>
              <a:rPr lang="de-DE" sz="4000" i="1" dirty="0" err="1"/>
              <a:t>installation</a:t>
            </a:r>
            <a:r>
              <a:rPr lang="de-DE" sz="4000" i="1" dirty="0"/>
              <a:t> CR</a:t>
            </a:r>
            <a:r>
              <a:rPr lang="de-DE" sz="4000" dirty="0"/>
              <a:t/>
            </a:r>
            <a:br>
              <a:rPr lang="de-DE" sz="4000" dirty="0"/>
            </a:br>
            <a:r>
              <a:rPr lang="en-US" sz="4000" dirty="0"/>
              <a:t/>
            </a:r>
            <a:br>
              <a:rPr lang="en-US" sz="4000" dirty="0"/>
            </a:br>
            <a:endParaRPr lang="de-DE" sz="20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89121" y="6312770"/>
            <a:ext cx="8578850" cy="2051368"/>
          </a:xfrm>
        </p:spPr>
        <p:txBody>
          <a:bodyPr/>
          <a:lstStyle/>
          <a:p>
            <a:pPr>
              <a:buNone/>
            </a:pPr>
            <a:r>
              <a:rPr lang="en-US" sz="2240" dirty="0"/>
              <a:t>J. Dübel-Müller</a:t>
            </a:r>
          </a:p>
          <a:p>
            <a:pPr>
              <a:buNone/>
            </a:pPr>
            <a:r>
              <a:rPr lang="en-US" sz="2240" dirty="0"/>
              <a:t>21.05.2019</a:t>
            </a:r>
            <a:endParaRPr lang="de-DE" sz="2240" dirty="0"/>
          </a:p>
        </p:txBody>
      </p:sp>
    </p:spTree>
    <p:extLst>
      <p:ext uri="{BB962C8B-B14F-4D97-AF65-F5344CB8AC3E}">
        <p14:creationId xmlns:p14="http://schemas.microsoft.com/office/powerpoint/2010/main" val="489771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290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i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D8F3D1F3-A137-4AEF-B4F2-F3FE06DDA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631884"/>
              </p:ext>
            </p:extLst>
          </p:nvPr>
        </p:nvGraphicFramePr>
        <p:xfrm>
          <a:off x="1135214" y="1948196"/>
          <a:ext cx="10891209" cy="6333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61">
                  <a:extLst>
                    <a:ext uri="{9D8B030D-6E8A-4147-A177-3AD203B41FA5}">
                      <a16:colId xmlns:a16="http://schemas.microsoft.com/office/drawing/2014/main" val="1739925637"/>
                    </a:ext>
                  </a:extLst>
                </a:gridCol>
                <a:gridCol w="225025">
                  <a:extLst>
                    <a:ext uri="{9D8B030D-6E8A-4147-A177-3AD203B41FA5}">
                      <a16:colId xmlns:a16="http://schemas.microsoft.com/office/drawing/2014/main" val="3863066087"/>
                    </a:ext>
                  </a:extLst>
                </a:gridCol>
                <a:gridCol w="7200800">
                  <a:extLst>
                    <a:ext uri="{9D8B030D-6E8A-4147-A177-3AD203B41FA5}">
                      <a16:colId xmlns:a16="http://schemas.microsoft.com/office/drawing/2014/main" val="136870398"/>
                    </a:ext>
                  </a:extLst>
                </a:gridCol>
                <a:gridCol w="225025">
                  <a:extLst>
                    <a:ext uri="{9D8B030D-6E8A-4147-A177-3AD203B41FA5}">
                      <a16:colId xmlns:a16="http://schemas.microsoft.com/office/drawing/2014/main" val="2580587357"/>
                    </a:ext>
                  </a:extLst>
                </a:gridCol>
                <a:gridCol w="990110">
                  <a:extLst>
                    <a:ext uri="{9D8B030D-6E8A-4147-A177-3AD203B41FA5}">
                      <a16:colId xmlns:a16="http://schemas.microsoft.com/office/drawing/2014/main" val="4137773239"/>
                    </a:ext>
                  </a:extLst>
                </a:gridCol>
                <a:gridCol w="225025">
                  <a:extLst>
                    <a:ext uri="{9D8B030D-6E8A-4147-A177-3AD203B41FA5}">
                      <a16:colId xmlns:a16="http://schemas.microsoft.com/office/drawing/2014/main" val="1864904306"/>
                    </a:ext>
                  </a:extLst>
                </a:gridCol>
                <a:gridCol w="1485163">
                  <a:extLst>
                    <a:ext uri="{9D8B030D-6E8A-4147-A177-3AD203B41FA5}">
                      <a16:colId xmlns:a16="http://schemas.microsoft.com/office/drawing/2014/main" val="3769877909"/>
                    </a:ext>
                  </a:extLst>
                </a:gridCol>
              </a:tblGrid>
              <a:tr h="614379">
                <a:tc>
                  <a:txBody>
                    <a:bodyPr/>
                    <a:lstStyle/>
                    <a:p>
                      <a:r>
                        <a:rPr lang="de-DE" sz="2000" dirty="0">
                          <a:solidFill>
                            <a:srgbClr val="0070C0"/>
                          </a:solidFill>
                        </a:rPr>
                        <a:t>ID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000" dirty="0">
                          <a:solidFill>
                            <a:srgbClr val="0070C0"/>
                          </a:solidFill>
                        </a:rPr>
                        <a:t>Aktion erforderlich - </a:t>
                      </a:r>
                      <a:r>
                        <a:rPr lang="de-DE" sz="2000" i="1" dirty="0">
                          <a:solidFill>
                            <a:srgbClr val="0070C0"/>
                          </a:solidFill>
                        </a:rPr>
                        <a:t>Action </a:t>
                      </a:r>
                      <a:r>
                        <a:rPr lang="de-DE" sz="2000" i="1" dirty="0" err="1">
                          <a:solidFill>
                            <a:srgbClr val="0070C0"/>
                          </a:solidFill>
                        </a:rPr>
                        <a:t>required</a:t>
                      </a:r>
                      <a:endParaRPr lang="de-DE" sz="2000" i="1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Wer? Who?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20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dirty="0">
                          <a:solidFill>
                            <a:srgbClr val="0070C0"/>
                          </a:solidFill>
                        </a:rPr>
                        <a:t>Bis wann? </a:t>
                      </a:r>
                      <a:r>
                        <a:rPr lang="de-DE" sz="1800" dirty="0" err="1">
                          <a:solidFill>
                            <a:srgbClr val="0070C0"/>
                          </a:solidFill>
                        </a:rPr>
                        <a:t>Until</a:t>
                      </a:r>
                      <a:r>
                        <a:rPr lang="de-DE" sz="1800" dirty="0">
                          <a:solidFill>
                            <a:srgbClr val="0070C0"/>
                          </a:solidFill>
                        </a:rPr>
                        <a:t>?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863057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070C0"/>
                          </a:solidFill>
                        </a:rPr>
                        <a:t>1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i="0" dirty="0">
                          <a:solidFill>
                            <a:srgbClr val="0070C0"/>
                          </a:solidFill>
                        </a:rPr>
                        <a:t>Versorgungsbereich: Zeitpunkt der Einbringung der stochastischen Kühlleitungen zu klären (1,25m Höhe).</a:t>
                      </a:r>
                    </a:p>
                    <a:p>
                      <a:pPr algn="l"/>
                      <a:r>
                        <a:rPr lang="en-US" sz="1400" i="1" dirty="0">
                          <a:solidFill>
                            <a:srgbClr val="0070C0"/>
                          </a:solidFill>
                        </a:rPr>
                        <a:t>Supply area: Clarify when the stochastic cooling lines should be installed (1.25m high).</a:t>
                      </a:r>
                      <a:endParaRPr lang="de-DE" sz="1400" i="1" dirty="0">
                        <a:solidFill>
                          <a:srgbClr val="0070C0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1602968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2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Strahlbereich: Durch wen wird der Kabelanschluss der Netzgeräte und Low Level Racks ausgeführt?</a:t>
                      </a:r>
                    </a:p>
                    <a:p>
                      <a:pPr algn="l"/>
                      <a:r>
                        <a:rPr lang="en-US" sz="1400" i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Beam area: Who is responsible for the cable connection of the power supplies and low level racks?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70551095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3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400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Nachfolgend ist nur RRF dargestellt. Erstrebenswert wäre eine ähnliche Detailschärfe für alle Bereiche.</a:t>
                      </a:r>
                    </a:p>
                    <a:p>
                      <a:pPr algn="l"/>
                      <a:r>
                        <a:rPr lang="en-US" sz="1400" i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Only RRF is shown in the following. A similar sharpness of detail would be desirable for all areas.</a:t>
                      </a:r>
                      <a:endParaRPr lang="de-DE" sz="1400" i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3942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pPr marL="0" algn="l" defTabSz="1280185" rtl="0" eaLnBrk="1" latinLnBrk="0" hangingPunct="1"/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i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3327254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pPr marL="0" algn="l" defTabSz="1280185" rtl="0" eaLnBrk="1" latinLnBrk="0" hangingPunct="1"/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6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8945589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pPr marL="0" algn="l" defTabSz="1280185" rtl="0" eaLnBrk="1" latinLnBrk="0" hangingPunct="1"/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7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0130016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pPr marL="0" algn="l" defTabSz="1280185" rtl="0" eaLnBrk="1" latinLnBrk="0" hangingPunct="1"/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8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6287004"/>
                  </a:ext>
                </a:extLst>
              </a:tr>
              <a:tr h="614379">
                <a:tc>
                  <a:txBody>
                    <a:bodyPr/>
                    <a:lstStyle/>
                    <a:p>
                      <a:pPr marL="0" algn="l" defTabSz="1280185" rtl="0" eaLnBrk="1" latinLnBrk="0" hangingPunct="1"/>
                      <a:r>
                        <a:rPr lang="de-DE" sz="18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9.</a:t>
                      </a:r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801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400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2405888"/>
                  </a:ext>
                </a:extLst>
              </a:tr>
            </a:tbl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 sz="2800" dirty="0"/>
              <a:t>CR | Einbringen der Maschine - </a:t>
            </a:r>
            <a:r>
              <a:rPr lang="de-DE" sz="2800" i="1" dirty="0" err="1"/>
              <a:t>Machine</a:t>
            </a:r>
            <a:r>
              <a:rPr lang="de-DE" sz="2800" i="1" dirty="0"/>
              <a:t> Installation</a:t>
            </a:r>
            <a:endParaRPr lang="de-DE" sz="2800" i="1" dirty="0">
              <a:solidFill>
                <a:srgbClr val="00B05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164" name="Titel 1">
            <a:extLst>
              <a:ext uri="{FF2B5EF4-FFF2-40B4-BE49-F238E27FC236}">
                <a16:creationId xmlns:a16="http://schemas.microsoft.com/office/drawing/2014/main" id="{757B9329-1BE7-4EF5-9FDA-877B16368E6F}"/>
              </a:ext>
            </a:extLst>
          </p:cNvPr>
          <p:cNvSpPr txBox="1">
            <a:spLocks/>
          </p:cNvSpPr>
          <p:nvPr/>
        </p:nvSpPr>
        <p:spPr bwMode="auto">
          <a:xfrm>
            <a:off x="400050" y="738472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1800" dirty="0"/>
              <a:t>Aktionsliste – </a:t>
            </a:r>
            <a:r>
              <a:rPr lang="de-DE" sz="1800" i="1" dirty="0"/>
              <a:t>List </a:t>
            </a:r>
            <a:r>
              <a:rPr lang="de-DE" sz="1800" i="1" dirty="0" err="1"/>
              <a:t>of</a:t>
            </a:r>
            <a:r>
              <a:rPr lang="de-DE" sz="1800" i="1" dirty="0"/>
              <a:t> </a:t>
            </a:r>
            <a:r>
              <a:rPr lang="de-DE" sz="1800" i="1" dirty="0" err="1"/>
              <a:t>actions</a:t>
            </a:r>
            <a:r>
              <a:rPr lang="en-US" sz="1800" dirty="0"/>
              <a:t/>
            </a:r>
            <a:br>
              <a:rPr lang="en-US" sz="1800" dirty="0"/>
            </a:br>
            <a:endParaRPr lang="de-DE" sz="1800" kern="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2168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211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2DF309F-B1BF-47ED-8F43-87A7A12FB716}"/>
              </a:ext>
            </a:extLst>
          </p:cNvPr>
          <p:cNvSpPr txBox="1"/>
          <p:nvPr/>
        </p:nvSpPr>
        <p:spPr>
          <a:xfrm>
            <a:off x="350487" y="1894727"/>
            <a:ext cx="25011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rgbClr val="00599D"/>
                </a:solidFill>
                <a:latin typeface="+mn-lt"/>
              </a:rPr>
              <a:t>Rough </a:t>
            </a:r>
            <a:r>
              <a:rPr lang="de-DE" sz="2000" b="1" dirty="0" err="1">
                <a:solidFill>
                  <a:srgbClr val="00599D"/>
                </a:solidFill>
                <a:latin typeface="+mn-lt"/>
              </a:rPr>
              <a:t>timeframe</a:t>
            </a:r>
            <a:r>
              <a:rPr lang="de-DE" sz="2000" b="1" dirty="0">
                <a:solidFill>
                  <a:srgbClr val="00599D"/>
                </a:solidFill>
                <a:latin typeface="+mn-lt"/>
              </a:rPr>
              <a:t> </a:t>
            </a:r>
          </a:p>
          <a:p>
            <a:r>
              <a:rPr lang="de-DE" sz="2000" dirty="0">
                <a:solidFill>
                  <a:srgbClr val="00599D"/>
                </a:solidFill>
                <a:latin typeface="+mn-lt"/>
              </a:rPr>
              <a:t>Nov./ </a:t>
            </a:r>
            <a:r>
              <a:rPr lang="de-DE" sz="2000" dirty="0" err="1">
                <a:solidFill>
                  <a:srgbClr val="00599D"/>
                </a:solidFill>
                <a:latin typeface="+mn-lt"/>
              </a:rPr>
              <a:t>Dec</a:t>
            </a:r>
            <a:r>
              <a:rPr lang="de-DE" sz="2000" dirty="0">
                <a:solidFill>
                  <a:srgbClr val="00599D"/>
                </a:solidFill>
                <a:latin typeface="+mn-lt"/>
              </a:rPr>
              <a:t>. 2022 and</a:t>
            </a:r>
          </a:p>
          <a:p>
            <a:r>
              <a:rPr lang="de-DE" sz="2000" dirty="0">
                <a:solidFill>
                  <a:srgbClr val="00599D"/>
                </a:solidFill>
                <a:latin typeface="+mn-lt"/>
              </a:rPr>
              <a:t>Feb./ Mar. 2023</a:t>
            </a:r>
          </a:p>
        </p:txBody>
      </p:sp>
      <p:pic>
        <p:nvPicPr>
          <p:cNvPr id="65617" name="Bild 1" descr="Gleichbereiche_G007pptx  PowerPoint">
            <a:extLst>
              <a:ext uri="{FF2B5EF4-FFF2-40B4-BE49-F238E27FC236}">
                <a16:creationId xmlns:a16="http://schemas.microsoft.com/office/drawing/2014/main" id="{1F4F14EB-CBB0-4530-86FE-7BBD815BC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5415" y="1889985"/>
            <a:ext cx="9429751" cy="607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D2611C66-BCF9-405D-A976-4DF09D368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 sz="2800" dirty="0"/>
              <a:t>CR | </a:t>
            </a:r>
            <a:r>
              <a:rPr lang="de-DE" sz="2800" dirty="0" err="1"/>
              <a:t>Machine</a:t>
            </a:r>
            <a:r>
              <a:rPr lang="de-DE" sz="2800" dirty="0"/>
              <a:t> Installation</a:t>
            </a:r>
            <a:endParaRPr lang="de-DE" sz="2520" dirty="0">
              <a:solidFill>
                <a:srgbClr val="00B050"/>
              </a:solidFill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040EAAA-92F6-4ECF-A689-060EE2F2A62A}"/>
              </a:ext>
            </a:extLst>
          </p:cNvPr>
          <p:cNvSpPr txBox="1">
            <a:spLocks/>
          </p:cNvSpPr>
          <p:nvPr/>
        </p:nvSpPr>
        <p:spPr bwMode="auto">
          <a:xfrm>
            <a:off x="400050" y="738472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1800" dirty="0"/>
              <a:t>Overall </a:t>
            </a:r>
            <a:r>
              <a:rPr lang="de-DE" sz="1800" dirty="0" err="1"/>
              <a:t>process</a:t>
            </a:r>
            <a:r>
              <a:rPr lang="de-DE" sz="1800" dirty="0"/>
              <a:t> </a:t>
            </a:r>
            <a:r>
              <a:rPr lang="de-DE" sz="1800" dirty="0" err="1"/>
              <a:t>analysis</a:t>
            </a:r>
            <a:r>
              <a:rPr lang="de-DE" sz="1800" dirty="0"/>
              <a:t> G007/ E10 – Supply Area RRF CR </a:t>
            </a:r>
            <a:r>
              <a:rPr lang="de-DE" sz="1800" dirty="0" err="1"/>
              <a:t>Debuncher</a:t>
            </a:r>
            <a:r>
              <a:rPr lang="en-US" sz="1800" dirty="0"/>
              <a:t/>
            </a:r>
            <a:br>
              <a:rPr lang="en-US" sz="1800" dirty="0"/>
            </a:br>
            <a:endParaRPr lang="de-DE" sz="1800" kern="0" dirty="0">
              <a:solidFill>
                <a:srgbClr val="00B050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330BE3C-305B-47A5-8EC9-75A02A6953C0}"/>
              </a:ext>
            </a:extLst>
          </p:cNvPr>
          <p:cNvSpPr txBox="1"/>
          <p:nvPr/>
        </p:nvSpPr>
        <p:spPr>
          <a:xfrm>
            <a:off x="8066480" y="4800600"/>
            <a:ext cx="12596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2000" b="1">
                <a:solidFill>
                  <a:srgbClr val="00599D"/>
                </a:solidFill>
                <a:latin typeface="+mn-lt"/>
              </a:defRPr>
            </a:lvl1pPr>
          </a:lstStyle>
          <a:p>
            <a:r>
              <a:rPr lang="de-DE" sz="1200" b="0" dirty="0" err="1">
                <a:solidFill>
                  <a:schemeClr val="bg1"/>
                </a:solidFill>
              </a:rPr>
              <a:t>Stochastic</a:t>
            </a:r>
            <a:r>
              <a:rPr lang="de-DE" sz="1200" b="0" dirty="0">
                <a:solidFill>
                  <a:schemeClr val="bg1"/>
                </a:solidFill>
              </a:rPr>
              <a:t> </a:t>
            </a:r>
            <a:r>
              <a:rPr lang="de-DE" sz="1200" b="0" dirty="0" err="1">
                <a:solidFill>
                  <a:schemeClr val="bg1"/>
                </a:solidFill>
              </a:rPr>
              <a:t>cooling</a:t>
            </a:r>
            <a:r>
              <a:rPr lang="de-DE" sz="1200" b="0" dirty="0">
                <a:solidFill>
                  <a:schemeClr val="bg1"/>
                </a:solidFill>
              </a:rPr>
              <a:t> </a:t>
            </a:r>
            <a:r>
              <a:rPr lang="de-DE" sz="1200" b="0" dirty="0" err="1">
                <a:solidFill>
                  <a:schemeClr val="bg1"/>
                </a:solidFill>
              </a:rPr>
              <a:t>line</a:t>
            </a:r>
            <a:endParaRPr lang="de-DE" sz="1200" b="0" dirty="0">
              <a:solidFill>
                <a:schemeClr val="bg1"/>
              </a:solidFill>
            </a:endParaRPr>
          </a:p>
        </p:txBody>
      </p:sp>
      <p:sp>
        <p:nvSpPr>
          <p:cNvPr id="15" name="Sprechblase: rechteckig mit abgerundeten Ecken 14">
            <a:extLst>
              <a:ext uri="{FF2B5EF4-FFF2-40B4-BE49-F238E27FC236}">
                <a16:creationId xmlns:a16="http://schemas.microsoft.com/office/drawing/2014/main" id="{563DD07C-F6B3-411B-B438-631B6330D8E5}"/>
              </a:ext>
            </a:extLst>
          </p:cNvPr>
          <p:cNvSpPr/>
          <p:nvPr/>
        </p:nvSpPr>
        <p:spPr>
          <a:xfrm>
            <a:off x="8808567" y="5340660"/>
            <a:ext cx="1035115" cy="274790"/>
          </a:xfrm>
          <a:prstGeom prst="wedgeRoundRectCallout">
            <a:avLst>
              <a:gd name="adj1" fmla="val -53832"/>
              <a:gd name="adj2" fmla="val -104483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See point 1 List of actions</a:t>
            </a:r>
            <a:endParaRPr lang="de-DE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222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4127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5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99E1D221-0B6F-40A8-BA81-E963546602C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160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212F4999-734B-4F71-8FDA-9F04543C2EF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2449175" y="1600200"/>
            <a:ext cx="0" cy="59610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11C3B42-7713-4E24-A700-64196BA5331B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183481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5C135B79-11AC-4F7A-897A-7701F39212C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9878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ED921599-7B2D-4D35-8D06-9F3A45527E4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57003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E14D887F-D5D4-49D7-97B9-E76879347DF8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81183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98FB413B-F8C0-44ED-B638-7A1E0A9C988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77971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2EA2B1C5-6AFA-415B-877B-5CF58113EBB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1844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CA2DE0E-76B6-477A-AA0F-1BD7D20ED9A3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4262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A29003F4-FC19-4BDB-93EC-0C6AB5D56E10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39407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CAB70735-9DF6-4932-B234-4999E76C4DB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2165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AA3CC9F4-C8EB-482E-A514-1FCCA9FBC31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460216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DDC21DDD-623C-4DAB-BD76-C598D73B381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0199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8CE39CA-8A85-4F27-9C5D-3EF8CCA502E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63428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7F73FB86-A9A3-4365-9206-601E0D6D44F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2486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B6CA67C-D7B1-4597-A3CB-DCCDF3E7492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880268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F87B34C-6D39-473B-854A-E9956488811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94170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A053246-EE4D-42EC-BDED-057EAC24EDC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001236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A993A0D-9405-4946-9E02-8EC2D1FA838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6267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836273B-91AF-4329-A04B-1D0E654FB2CC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2204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257E39C3-3CE3-4012-9642-48539BD6790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01638" y="1600200"/>
            <a:ext cx="0" cy="59610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DB804BFF-AF61-44DC-AC24-A5CC4C8FBB5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01638" y="7561263"/>
            <a:ext cx="120475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ACA6CF99-76ED-43A2-875F-117B4DD48A4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01638" y="1600200"/>
            <a:ext cx="120475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>
            <a:extLst>
              <a:ext uri="{FF2B5EF4-FFF2-40B4-BE49-F238E27FC236}">
                <a16:creationId xmlns:a16="http://schemas.microsoft.com/office/drawing/2014/main" id="{ED70B71B-934D-42BF-A793-B902650DE346}"/>
              </a:ext>
            </a:extLst>
          </p:cNvPr>
          <p:cNvSpPr>
            <a:spLocks noChangeAspect="1"/>
          </p:cNvSpPr>
          <p:nvPr/>
        </p:nvSpPr>
        <p:spPr>
          <a:xfrm>
            <a:off x="992918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Transport </a:t>
            </a:r>
            <a:r>
              <a:rPr lang="de-DE" sz="800" dirty="0" err="1">
                <a:solidFill>
                  <a:schemeClr val="bg1"/>
                </a:solidFill>
              </a:rPr>
              <a:t>of</a:t>
            </a:r>
            <a:r>
              <a:rPr lang="de-DE" sz="800" dirty="0">
                <a:solidFill>
                  <a:schemeClr val="bg1"/>
                </a:solidFill>
              </a:rPr>
              <a:t> power </a:t>
            </a:r>
            <a:r>
              <a:rPr lang="de-DE" sz="800" dirty="0" err="1">
                <a:solidFill>
                  <a:schemeClr val="bg1"/>
                </a:solidFill>
              </a:rPr>
              <a:t>supply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units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(CR BB)</a:t>
            </a:r>
          </a:p>
        </p:txBody>
      </p:sp>
      <p:sp>
        <p:nvSpPr>
          <p:cNvPr id="155" name="Raute 154">
            <a:extLst>
              <a:ext uri="{FF2B5EF4-FFF2-40B4-BE49-F238E27FC236}">
                <a16:creationId xmlns:a16="http://schemas.microsoft.com/office/drawing/2014/main" id="{A67029C7-C29C-4636-83BA-2E236DDD25AC}"/>
              </a:ext>
            </a:extLst>
          </p:cNvPr>
          <p:cNvSpPr/>
          <p:nvPr/>
        </p:nvSpPr>
        <p:spPr>
          <a:xfrm>
            <a:off x="2341444" y="2160884"/>
            <a:ext cx="864000" cy="864000"/>
          </a:xfrm>
          <a:prstGeom prst="diamon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00" dirty="0" err="1">
                <a:solidFill>
                  <a:schemeClr val="tx1"/>
                </a:solidFill>
              </a:rPr>
              <a:t>Before</a:t>
            </a:r>
            <a:r>
              <a:rPr lang="de-DE" sz="800" dirty="0">
                <a:solidFill>
                  <a:schemeClr val="tx1"/>
                </a:solidFill>
              </a:rPr>
              <a:t> </a:t>
            </a:r>
            <a:r>
              <a:rPr lang="de-DE" sz="800" dirty="0" err="1">
                <a:solidFill>
                  <a:schemeClr val="tx1"/>
                </a:solidFill>
              </a:rPr>
              <a:t>tunnel</a:t>
            </a:r>
            <a:r>
              <a:rPr lang="de-DE" sz="800" dirty="0">
                <a:solidFill>
                  <a:schemeClr val="tx1"/>
                </a:solidFill>
              </a:rPr>
              <a:t> </a:t>
            </a:r>
            <a:r>
              <a:rPr lang="de-DE" sz="800" dirty="0" err="1">
                <a:solidFill>
                  <a:schemeClr val="tx1"/>
                </a:solidFill>
              </a:rPr>
              <a:t>installa-tion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124" name="Titel 1">
            <a:extLst>
              <a:ext uri="{FF2B5EF4-FFF2-40B4-BE49-F238E27FC236}">
                <a16:creationId xmlns:a16="http://schemas.microsoft.com/office/drawing/2014/main" id="{8BCD934E-3D3B-4027-A29B-25045C433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 sz="2800" dirty="0"/>
              <a:t>CR | </a:t>
            </a:r>
            <a:r>
              <a:rPr lang="de-DE" sz="2800" dirty="0" err="1"/>
              <a:t>Machine</a:t>
            </a:r>
            <a:r>
              <a:rPr lang="de-DE" sz="2800" dirty="0"/>
              <a:t> Installation</a:t>
            </a:r>
            <a:endParaRPr lang="de-DE" sz="2520" dirty="0">
              <a:solidFill>
                <a:srgbClr val="00B050"/>
              </a:solidFill>
            </a:endParaRPr>
          </a:p>
        </p:txBody>
      </p:sp>
      <p:sp>
        <p:nvSpPr>
          <p:cNvPr id="149" name="Titel 1">
            <a:extLst>
              <a:ext uri="{FF2B5EF4-FFF2-40B4-BE49-F238E27FC236}">
                <a16:creationId xmlns:a16="http://schemas.microsoft.com/office/drawing/2014/main" id="{9DED8E9C-4176-4DF6-A779-78FEEE9DE4E5}"/>
              </a:ext>
            </a:extLst>
          </p:cNvPr>
          <p:cNvSpPr txBox="1">
            <a:spLocks/>
          </p:cNvSpPr>
          <p:nvPr/>
        </p:nvSpPr>
        <p:spPr bwMode="auto">
          <a:xfrm>
            <a:off x="400050" y="738472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1800" dirty="0"/>
              <a:t>Overall </a:t>
            </a:r>
            <a:r>
              <a:rPr lang="de-DE" sz="1800" dirty="0" err="1"/>
              <a:t>process</a:t>
            </a:r>
            <a:r>
              <a:rPr lang="de-DE" sz="1800" dirty="0"/>
              <a:t> </a:t>
            </a:r>
            <a:r>
              <a:rPr lang="de-DE" sz="1800" dirty="0" err="1"/>
              <a:t>analysis</a:t>
            </a:r>
            <a:r>
              <a:rPr lang="de-DE" sz="1800" dirty="0"/>
              <a:t> G007/ E10 – Supply Area RRF CR </a:t>
            </a:r>
            <a:r>
              <a:rPr lang="de-DE" sz="1800" dirty="0" err="1"/>
              <a:t>Debuncher</a:t>
            </a:r>
            <a:r>
              <a:rPr lang="en-US" sz="1800" dirty="0"/>
              <a:t/>
            </a:r>
            <a:br>
              <a:rPr lang="en-US" sz="1800" dirty="0"/>
            </a:br>
            <a:endParaRPr lang="de-DE" sz="1800" kern="0" dirty="0">
              <a:solidFill>
                <a:srgbClr val="00B050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852F9F2A-DC58-4074-BA76-BE59AF082C10}"/>
              </a:ext>
            </a:extLst>
          </p:cNvPr>
          <p:cNvSpPr>
            <a:spLocks noChangeAspect="1"/>
          </p:cNvSpPr>
          <p:nvPr/>
        </p:nvSpPr>
        <p:spPr>
          <a:xfrm>
            <a:off x="992918" y="2961884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rotection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of</a:t>
            </a:r>
            <a:r>
              <a:rPr lang="de-DE" sz="800" dirty="0">
                <a:solidFill>
                  <a:schemeClr val="bg1"/>
                </a:solidFill>
              </a:rPr>
              <a:t> power </a:t>
            </a:r>
            <a:r>
              <a:rPr lang="de-DE" sz="800" dirty="0" err="1">
                <a:solidFill>
                  <a:schemeClr val="bg1"/>
                </a:solidFill>
              </a:rPr>
              <a:t>supply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units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(CR BB)</a:t>
            </a:r>
          </a:p>
        </p:txBody>
      </p:sp>
      <p:sp>
        <p:nvSpPr>
          <p:cNvPr id="157" name="Rechteck 156">
            <a:extLst>
              <a:ext uri="{FF2B5EF4-FFF2-40B4-BE49-F238E27FC236}">
                <a16:creationId xmlns:a16="http://schemas.microsoft.com/office/drawing/2014/main" id="{9E3E1274-F56D-4232-AB6C-06A48D78A006}"/>
              </a:ext>
            </a:extLst>
          </p:cNvPr>
          <p:cNvSpPr>
            <a:spLocks noChangeAspect="1"/>
          </p:cNvSpPr>
          <p:nvPr/>
        </p:nvSpPr>
        <p:spPr>
          <a:xfrm>
            <a:off x="1602729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Position of the power supplies.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0793653A-17AE-43E3-9BCF-EDFCE611A599}"/>
              </a:ext>
            </a:extLst>
          </p:cNvPr>
          <p:cNvSpPr>
            <a:spLocks noChangeAspect="1"/>
          </p:cNvSpPr>
          <p:nvPr/>
        </p:nvSpPr>
        <p:spPr>
          <a:xfrm>
            <a:off x="4006190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Transport </a:t>
            </a:r>
            <a:r>
              <a:rPr lang="en-US" sz="800" dirty="0" err="1">
                <a:solidFill>
                  <a:schemeClr val="bg1"/>
                </a:solidFill>
              </a:rPr>
              <a:t>equipment+power</a:t>
            </a:r>
            <a:r>
              <a:rPr lang="en-US" sz="800" dirty="0">
                <a:solidFill>
                  <a:schemeClr val="bg1"/>
                </a:solidFill>
              </a:rPr>
              <a:t> supply equip</a:t>
            </a:r>
            <a:r>
              <a:rPr lang="de-DE" sz="800" dirty="0" err="1">
                <a:solidFill>
                  <a:schemeClr val="bg1"/>
                </a:solidFill>
              </a:rPr>
              <a:t>ment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78" name="Raute 177">
            <a:extLst>
              <a:ext uri="{FF2B5EF4-FFF2-40B4-BE49-F238E27FC236}">
                <a16:creationId xmlns:a16="http://schemas.microsoft.com/office/drawing/2014/main" id="{14A3A049-8683-4DCB-9B1E-A586E431172D}"/>
              </a:ext>
            </a:extLst>
          </p:cNvPr>
          <p:cNvSpPr/>
          <p:nvPr/>
        </p:nvSpPr>
        <p:spPr>
          <a:xfrm>
            <a:off x="3081516" y="1962004"/>
            <a:ext cx="864000" cy="864000"/>
          </a:xfrm>
          <a:prstGeom prst="diamon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TGA </a:t>
            </a:r>
            <a:r>
              <a:rPr lang="de-DE" sz="800" dirty="0" err="1">
                <a:solidFill>
                  <a:schemeClr val="tx1"/>
                </a:solidFill>
              </a:rPr>
              <a:t>comple-ted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180" name="Rechteck 179">
            <a:extLst>
              <a:ext uri="{FF2B5EF4-FFF2-40B4-BE49-F238E27FC236}">
                <a16:creationId xmlns:a16="http://schemas.microsoft.com/office/drawing/2014/main" id="{85BD247A-82F1-4B93-B931-3FB51F955555}"/>
              </a:ext>
            </a:extLst>
          </p:cNvPr>
          <p:cNvSpPr>
            <a:spLocks noChangeAspect="1"/>
          </p:cNvSpPr>
          <p:nvPr/>
        </p:nvSpPr>
        <p:spPr>
          <a:xfrm>
            <a:off x="4006190" y="2961883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Transport Low Level Racks 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(CR BB)</a:t>
            </a:r>
          </a:p>
        </p:txBody>
      </p:sp>
      <p:sp>
        <p:nvSpPr>
          <p:cNvPr id="181" name="Rechteck 180">
            <a:extLst>
              <a:ext uri="{FF2B5EF4-FFF2-40B4-BE49-F238E27FC236}">
                <a16:creationId xmlns:a16="http://schemas.microsoft.com/office/drawing/2014/main" id="{08A8ECEC-2458-4A90-B574-50C71C8FF0A2}"/>
              </a:ext>
            </a:extLst>
          </p:cNvPr>
          <p:cNvSpPr>
            <a:spLocks noChangeAspect="1"/>
          </p:cNvSpPr>
          <p:nvPr/>
        </p:nvSpPr>
        <p:spPr>
          <a:xfrm>
            <a:off x="4619061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Electrical connection power supply unit </a:t>
            </a:r>
            <a:r>
              <a:rPr lang="de-DE" sz="800" dirty="0">
                <a:solidFill>
                  <a:schemeClr val="bg1"/>
                </a:solidFill>
              </a:rPr>
              <a:t>400V Netz</a:t>
            </a:r>
          </a:p>
        </p:txBody>
      </p:sp>
      <p:sp>
        <p:nvSpPr>
          <p:cNvPr id="182" name="Rechteck 181">
            <a:extLst>
              <a:ext uri="{FF2B5EF4-FFF2-40B4-BE49-F238E27FC236}">
                <a16:creationId xmlns:a16="http://schemas.microsoft.com/office/drawing/2014/main" id="{177B7660-1245-45E2-8765-7F30C9FF57B0}"/>
              </a:ext>
            </a:extLst>
          </p:cNvPr>
          <p:cNvSpPr>
            <a:spLocks noChangeAspect="1"/>
          </p:cNvSpPr>
          <p:nvPr/>
        </p:nvSpPr>
        <p:spPr>
          <a:xfrm>
            <a:off x="5228331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Systemintegration (RRF)</a:t>
            </a:r>
          </a:p>
        </p:txBody>
      </p:sp>
      <p:sp>
        <p:nvSpPr>
          <p:cNvPr id="184" name="Rechteck 183">
            <a:extLst>
              <a:ext uri="{FF2B5EF4-FFF2-40B4-BE49-F238E27FC236}">
                <a16:creationId xmlns:a16="http://schemas.microsoft.com/office/drawing/2014/main" id="{4BD7318E-C4C0-4CD9-BC12-94074C00500C}"/>
              </a:ext>
            </a:extLst>
          </p:cNvPr>
          <p:cNvSpPr>
            <a:spLocks noChangeAspect="1"/>
          </p:cNvSpPr>
          <p:nvPr/>
        </p:nvSpPr>
        <p:spPr>
          <a:xfrm>
            <a:off x="5228331" y="2961882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Systemintegration Low Level (RRF)</a:t>
            </a:r>
          </a:p>
        </p:txBody>
      </p:sp>
      <p:sp>
        <p:nvSpPr>
          <p:cNvPr id="186" name="Rechteck 185">
            <a:extLst>
              <a:ext uri="{FF2B5EF4-FFF2-40B4-BE49-F238E27FC236}">
                <a16:creationId xmlns:a16="http://schemas.microsoft.com/office/drawing/2014/main" id="{71A63642-1AFC-49CA-9731-1FD8AD3F090B}"/>
              </a:ext>
            </a:extLst>
          </p:cNvPr>
          <p:cNvSpPr>
            <a:spLocks noChangeAspect="1"/>
          </p:cNvSpPr>
          <p:nvPr/>
        </p:nvSpPr>
        <p:spPr>
          <a:xfrm>
            <a:off x="5814248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Air </a:t>
            </a:r>
            <a:r>
              <a:rPr lang="de-DE" sz="800" dirty="0" err="1">
                <a:solidFill>
                  <a:schemeClr val="bg1"/>
                </a:solidFill>
              </a:rPr>
              <a:t>supply</a:t>
            </a:r>
            <a:r>
              <a:rPr lang="de-DE" sz="800" dirty="0">
                <a:solidFill>
                  <a:schemeClr val="bg1"/>
                </a:solidFill>
              </a:rPr>
              <a:t> (external)</a:t>
            </a:r>
          </a:p>
        </p:txBody>
      </p:sp>
      <p:sp>
        <p:nvSpPr>
          <p:cNvPr id="187" name="Rechteck 186">
            <a:extLst>
              <a:ext uri="{FF2B5EF4-FFF2-40B4-BE49-F238E27FC236}">
                <a16:creationId xmlns:a16="http://schemas.microsoft.com/office/drawing/2014/main" id="{5A0D0100-40AD-48A3-848B-FA43ADF54431}"/>
              </a:ext>
            </a:extLst>
          </p:cNvPr>
          <p:cNvSpPr>
            <a:spLocks noChangeAspect="1"/>
          </p:cNvSpPr>
          <p:nvPr/>
        </p:nvSpPr>
        <p:spPr>
          <a:xfrm>
            <a:off x="10022545" y="23048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/>
              <a:t>Overall </a:t>
            </a:r>
            <a:r>
              <a:rPr lang="de-DE" sz="800" dirty="0" err="1"/>
              <a:t>integration</a:t>
            </a:r>
            <a:r>
              <a:rPr lang="de-DE" sz="800" dirty="0">
                <a:solidFill>
                  <a:schemeClr val="bg1"/>
                </a:solidFill>
              </a:rPr>
              <a:t>(RRF)</a:t>
            </a:r>
          </a:p>
        </p:txBody>
      </p:sp>
      <p:sp>
        <p:nvSpPr>
          <p:cNvPr id="188" name="Raute 187">
            <a:extLst>
              <a:ext uri="{FF2B5EF4-FFF2-40B4-BE49-F238E27FC236}">
                <a16:creationId xmlns:a16="http://schemas.microsoft.com/office/drawing/2014/main" id="{F561998A-8048-4487-AC0F-3E49AEF278E3}"/>
              </a:ext>
            </a:extLst>
          </p:cNvPr>
          <p:cNvSpPr/>
          <p:nvPr/>
        </p:nvSpPr>
        <p:spPr>
          <a:xfrm>
            <a:off x="9167798" y="2158057"/>
            <a:ext cx="864000" cy="864000"/>
          </a:xfrm>
          <a:prstGeom prst="diamon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Assemblies are positioned and integrated</a:t>
            </a:r>
            <a:endParaRPr lang="de-DE" sz="8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46CAD9-21E7-4AEB-B848-938666FEF1DC}"/>
              </a:ext>
            </a:extLst>
          </p:cNvPr>
          <p:cNvSpPr/>
          <p:nvPr/>
        </p:nvSpPr>
        <p:spPr>
          <a:xfrm>
            <a:off x="766748" y="1650249"/>
            <a:ext cx="4464265" cy="3782443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 dirty="0">
                <a:solidFill>
                  <a:schemeClr val="tx1"/>
                </a:solidFill>
              </a:rPr>
              <a:t>external </a:t>
            </a:r>
          </a:p>
          <a:p>
            <a:r>
              <a:rPr lang="de-DE" sz="2000" dirty="0" err="1">
                <a:solidFill>
                  <a:schemeClr val="tx1"/>
                </a:solidFill>
              </a:rPr>
              <a:t>executio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89" name="Rechteck 188">
            <a:extLst>
              <a:ext uri="{FF2B5EF4-FFF2-40B4-BE49-F238E27FC236}">
                <a16:creationId xmlns:a16="http://schemas.microsoft.com/office/drawing/2014/main" id="{01498D1C-D309-4DA8-9A9D-BB3A1F09421E}"/>
              </a:ext>
            </a:extLst>
          </p:cNvPr>
          <p:cNvSpPr/>
          <p:nvPr/>
        </p:nvSpPr>
        <p:spPr>
          <a:xfrm>
            <a:off x="5800197" y="1650249"/>
            <a:ext cx="2083339" cy="3782437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 dirty="0">
                <a:solidFill>
                  <a:schemeClr val="tx1"/>
                </a:solidFill>
              </a:rPr>
              <a:t>external </a:t>
            </a:r>
            <a:r>
              <a:rPr lang="de-DE" sz="2000" dirty="0" err="1">
                <a:solidFill>
                  <a:schemeClr val="tx1"/>
                </a:solidFill>
              </a:rPr>
              <a:t>executio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163" name="Sprechblase: rechteckig mit abgerundeten Ecken 162">
            <a:extLst>
              <a:ext uri="{FF2B5EF4-FFF2-40B4-BE49-F238E27FC236}">
                <a16:creationId xmlns:a16="http://schemas.microsoft.com/office/drawing/2014/main" id="{673B5B63-15E6-4515-ABC2-4E1260A3E443}"/>
              </a:ext>
            </a:extLst>
          </p:cNvPr>
          <p:cNvSpPr/>
          <p:nvPr/>
        </p:nvSpPr>
        <p:spPr>
          <a:xfrm>
            <a:off x="802489" y="3903749"/>
            <a:ext cx="1828246" cy="322962"/>
          </a:xfrm>
          <a:prstGeom prst="wedgeRoundRectCallout">
            <a:avLst>
              <a:gd name="adj1" fmla="val -34388"/>
              <a:gd name="adj2" fmla="val -168047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Dust-free environment or safe protection against dust.</a:t>
            </a:r>
          </a:p>
        </p:txBody>
      </p:sp>
      <p:sp>
        <p:nvSpPr>
          <p:cNvPr id="119" name="Sprechblase: rechteckig mit abgerundeten Ecken 118">
            <a:extLst>
              <a:ext uri="{FF2B5EF4-FFF2-40B4-BE49-F238E27FC236}">
                <a16:creationId xmlns:a16="http://schemas.microsoft.com/office/drawing/2014/main" id="{DADE7000-D959-4500-89F5-AC302A8A2D3A}"/>
              </a:ext>
            </a:extLst>
          </p:cNvPr>
          <p:cNvSpPr/>
          <p:nvPr/>
        </p:nvSpPr>
        <p:spPr>
          <a:xfrm>
            <a:off x="2694437" y="3814866"/>
            <a:ext cx="2295648" cy="988763"/>
          </a:xfrm>
          <a:prstGeom prst="wedgeRoundRectCallout">
            <a:avLst>
              <a:gd name="adj1" fmla="val -14230"/>
              <a:gd name="adj2" fmla="val -162422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- Cable pull completed</a:t>
            </a:r>
          </a:p>
          <a:p>
            <a:r>
              <a:rPr lang="en-US" sz="1000" dirty="0">
                <a:solidFill>
                  <a:schemeClr val="bg1"/>
                </a:solidFill>
              </a:rPr>
              <a:t>- Electricity available</a:t>
            </a:r>
          </a:p>
          <a:p>
            <a:r>
              <a:rPr lang="en-US" sz="1000" dirty="0">
                <a:solidFill>
                  <a:schemeClr val="bg1"/>
                </a:solidFill>
              </a:rPr>
              <a:t>Cooling air available</a:t>
            </a:r>
          </a:p>
          <a:p>
            <a:r>
              <a:rPr lang="en-US" sz="1000" dirty="0">
                <a:solidFill>
                  <a:schemeClr val="bg1"/>
                </a:solidFill>
              </a:rPr>
              <a:t>- Cable trays laid and cable trays above the low level racks (length compensation)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77" name="Sprechblase: rechteckig mit abgerundeten Ecken 176">
            <a:extLst>
              <a:ext uri="{FF2B5EF4-FFF2-40B4-BE49-F238E27FC236}">
                <a16:creationId xmlns:a16="http://schemas.microsoft.com/office/drawing/2014/main" id="{55CE167F-8218-4D80-B47B-F812540EC258}"/>
              </a:ext>
            </a:extLst>
          </p:cNvPr>
          <p:cNvSpPr/>
          <p:nvPr/>
        </p:nvSpPr>
        <p:spPr>
          <a:xfrm>
            <a:off x="1480985" y="3246691"/>
            <a:ext cx="1717617" cy="482079"/>
          </a:xfrm>
          <a:prstGeom prst="wedgeRoundRectCallout">
            <a:avLst>
              <a:gd name="adj1" fmla="val -29610"/>
              <a:gd name="adj2" fmla="val -134002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With electric forklift.</a:t>
            </a:r>
          </a:p>
          <a:p>
            <a:r>
              <a:rPr lang="en-US" sz="1000" dirty="0">
                <a:solidFill>
                  <a:schemeClr val="bg1"/>
                </a:solidFill>
              </a:rPr>
              <a:t>Positioning together with user desired.</a:t>
            </a:r>
          </a:p>
        </p:txBody>
      </p:sp>
      <p:sp>
        <p:nvSpPr>
          <p:cNvPr id="185" name="Sprechblase: rechteckig mit abgerundeten Ecken 184">
            <a:extLst>
              <a:ext uri="{FF2B5EF4-FFF2-40B4-BE49-F238E27FC236}">
                <a16:creationId xmlns:a16="http://schemas.microsoft.com/office/drawing/2014/main" id="{327985BC-262C-42B8-A315-EEFA31566D65}"/>
              </a:ext>
            </a:extLst>
          </p:cNvPr>
          <p:cNvSpPr/>
          <p:nvPr/>
        </p:nvSpPr>
        <p:spPr>
          <a:xfrm>
            <a:off x="5919195" y="3535217"/>
            <a:ext cx="1775418" cy="322962"/>
          </a:xfrm>
          <a:prstGeom prst="wedgeRoundRectCallout">
            <a:avLst>
              <a:gd name="adj1" fmla="val -62121"/>
              <a:gd name="adj2" fmla="val -80930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dirty="0" err="1">
                <a:solidFill>
                  <a:schemeClr val="bg1"/>
                </a:solidFill>
              </a:rPr>
              <a:t>No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pre-assembly</a:t>
            </a:r>
            <a:r>
              <a:rPr lang="de-DE" sz="1000" dirty="0">
                <a:solidFill>
                  <a:schemeClr val="bg1"/>
                </a:solidFill>
              </a:rPr>
              <a:t> possible.</a:t>
            </a:r>
          </a:p>
          <a:p>
            <a:r>
              <a:rPr lang="de-DE" sz="1000" dirty="0">
                <a:solidFill>
                  <a:schemeClr val="bg1"/>
                </a:solidFill>
              </a:rPr>
              <a:t>Duration </a:t>
            </a:r>
            <a:r>
              <a:rPr lang="de-DE" sz="1000" dirty="0" err="1">
                <a:solidFill>
                  <a:schemeClr val="bg1"/>
                </a:solidFill>
              </a:rPr>
              <a:t>approx</a:t>
            </a:r>
            <a:r>
              <a:rPr lang="de-DE" sz="1000" dirty="0">
                <a:solidFill>
                  <a:schemeClr val="bg1"/>
                </a:solidFill>
              </a:rPr>
              <a:t>. 4 </a:t>
            </a:r>
            <a:r>
              <a:rPr lang="de-DE" sz="1000" dirty="0" err="1">
                <a:solidFill>
                  <a:schemeClr val="bg1"/>
                </a:solidFill>
              </a:rPr>
              <a:t>weeks</a:t>
            </a:r>
            <a:r>
              <a:rPr lang="de-DE" sz="10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83" name="Sprechblase: rechteckig mit abgerundeten Ecken 182">
            <a:extLst>
              <a:ext uri="{FF2B5EF4-FFF2-40B4-BE49-F238E27FC236}">
                <a16:creationId xmlns:a16="http://schemas.microsoft.com/office/drawing/2014/main" id="{F25FB99A-2B52-4E2A-BED1-9B977954E96E}"/>
              </a:ext>
            </a:extLst>
          </p:cNvPr>
          <p:cNvSpPr/>
          <p:nvPr/>
        </p:nvSpPr>
        <p:spPr>
          <a:xfrm>
            <a:off x="5920482" y="3119288"/>
            <a:ext cx="1766857" cy="322962"/>
          </a:xfrm>
          <a:prstGeom prst="wedgeRoundRectCallout">
            <a:avLst>
              <a:gd name="adj1" fmla="val -68064"/>
              <a:gd name="adj2" fmla="val -131748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dirty="0" err="1">
                <a:solidFill>
                  <a:schemeClr val="bg1"/>
                </a:solidFill>
              </a:rPr>
              <a:t>No</a:t>
            </a:r>
            <a:r>
              <a:rPr lang="de-DE" sz="1000" dirty="0">
                <a:solidFill>
                  <a:schemeClr val="bg1"/>
                </a:solidFill>
              </a:rPr>
              <a:t> </a:t>
            </a:r>
            <a:r>
              <a:rPr lang="de-DE" sz="1000" dirty="0" err="1">
                <a:solidFill>
                  <a:schemeClr val="bg1"/>
                </a:solidFill>
              </a:rPr>
              <a:t>pre-assembly</a:t>
            </a:r>
            <a:r>
              <a:rPr lang="de-DE" sz="1000" dirty="0">
                <a:solidFill>
                  <a:schemeClr val="bg1"/>
                </a:solidFill>
              </a:rPr>
              <a:t> possible.</a:t>
            </a:r>
          </a:p>
          <a:p>
            <a:r>
              <a:rPr lang="de-DE" sz="1000" dirty="0">
                <a:solidFill>
                  <a:schemeClr val="bg1"/>
                </a:solidFill>
              </a:rPr>
              <a:t>Duration </a:t>
            </a:r>
            <a:r>
              <a:rPr lang="de-DE" sz="1000" dirty="0" err="1">
                <a:solidFill>
                  <a:schemeClr val="bg1"/>
                </a:solidFill>
              </a:rPr>
              <a:t>approx</a:t>
            </a:r>
            <a:r>
              <a:rPr lang="de-DE" sz="1000" dirty="0">
                <a:solidFill>
                  <a:schemeClr val="bg1"/>
                </a:solidFill>
              </a:rPr>
              <a:t>. 4 </a:t>
            </a:r>
            <a:r>
              <a:rPr lang="de-DE" sz="1000" dirty="0" err="1">
                <a:solidFill>
                  <a:schemeClr val="bg1"/>
                </a:solidFill>
              </a:rPr>
              <a:t>weeks</a:t>
            </a:r>
            <a:r>
              <a:rPr lang="de-DE" sz="10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18F9D04D-8E4C-461D-B572-4279CBB7A5AA}"/>
              </a:ext>
            </a:extLst>
          </p:cNvPr>
          <p:cNvSpPr/>
          <p:nvPr/>
        </p:nvSpPr>
        <p:spPr>
          <a:xfrm>
            <a:off x="416525" y="7879548"/>
            <a:ext cx="467487" cy="290527"/>
          </a:xfrm>
          <a:prstGeom prst="rect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90488" tIns="46038" rIns="0" bIns="46038" numCol="1" spcCol="0" anchor="ctr" anchorCtr="0" compatLnSpc="1">
            <a:prstTxWarp prst="textNoShape">
              <a:avLst/>
            </a:prstTxWarp>
            <a:noAutofit/>
          </a:bodyPr>
          <a:lstStyle/>
          <a:p>
            <a:pPr marL="120018" indent="-120018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</a:pPr>
            <a:endParaRPr lang="de-DE">
              <a:solidFill>
                <a:srgbClr val="00599D"/>
              </a:solidFill>
            </a:endParaRP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F94B46E6-00C7-4D54-9F31-CE44866F847F}"/>
              </a:ext>
            </a:extLst>
          </p:cNvPr>
          <p:cNvSpPr txBox="1"/>
          <p:nvPr/>
        </p:nvSpPr>
        <p:spPr>
          <a:xfrm>
            <a:off x="913607" y="7930706"/>
            <a:ext cx="12089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GB"/>
            </a:defPPr>
            <a:lvl1pPr>
              <a:defRPr sz="1200">
                <a:latin typeface="+mn-lt"/>
              </a:defRPr>
            </a:lvl1pPr>
          </a:lstStyle>
          <a:p>
            <a:r>
              <a:rPr lang="de-DE" dirty="0"/>
              <a:t>Ring HF (RRF)</a:t>
            </a:r>
          </a:p>
        </p:txBody>
      </p:sp>
    </p:spTree>
    <p:extLst>
      <p:ext uri="{BB962C8B-B14F-4D97-AF65-F5344CB8AC3E}">
        <p14:creationId xmlns:p14="http://schemas.microsoft.com/office/powerpoint/2010/main" val="20268947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755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9090" name="Picture 2" descr="Gleichbereiche_G007pptx  PowerPoint">
            <a:extLst>
              <a:ext uri="{FF2B5EF4-FFF2-40B4-BE49-F238E27FC236}">
                <a16:creationId xmlns:a16="http://schemas.microsoft.com/office/drawing/2014/main" id="{0FBE08F6-146E-4221-8F7A-182E7CB593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430" y="1983179"/>
            <a:ext cx="9410701" cy="600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9C6EFC4-7662-4693-AEF0-010F6D503129}"/>
              </a:ext>
            </a:extLst>
          </p:cNvPr>
          <p:cNvSpPr txBox="1"/>
          <p:nvPr/>
        </p:nvSpPr>
        <p:spPr>
          <a:xfrm>
            <a:off x="350487" y="1894727"/>
            <a:ext cx="270458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rgbClr val="00599D"/>
                </a:solidFill>
                <a:latin typeface="+mn-lt"/>
              </a:rPr>
              <a:t>Rough </a:t>
            </a:r>
            <a:r>
              <a:rPr lang="de-DE" sz="2000" b="1" dirty="0" err="1">
                <a:solidFill>
                  <a:srgbClr val="00599D"/>
                </a:solidFill>
                <a:latin typeface="+mn-lt"/>
              </a:rPr>
              <a:t>timeframe</a:t>
            </a:r>
            <a:r>
              <a:rPr lang="de-DE" sz="2000" b="1" dirty="0">
                <a:solidFill>
                  <a:srgbClr val="00599D"/>
                </a:solidFill>
                <a:latin typeface="+mn-lt"/>
              </a:rPr>
              <a:t> </a:t>
            </a:r>
          </a:p>
          <a:p>
            <a:r>
              <a:rPr lang="de-DE" sz="2000" dirty="0">
                <a:solidFill>
                  <a:srgbClr val="00599D"/>
                </a:solidFill>
                <a:latin typeface="+mn-lt"/>
              </a:rPr>
              <a:t>Sep. 2022 - Jun. 2023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126E08F3-1A80-4CEC-8B07-CB3D8008B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 sz="2800" dirty="0"/>
              <a:t>CR | </a:t>
            </a:r>
            <a:r>
              <a:rPr lang="de-DE" sz="2800" dirty="0" err="1"/>
              <a:t>Machine</a:t>
            </a:r>
            <a:r>
              <a:rPr lang="de-DE" sz="2800" dirty="0"/>
              <a:t> Installation</a:t>
            </a:r>
            <a:endParaRPr lang="de-DE" sz="2520" dirty="0">
              <a:solidFill>
                <a:srgbClr val="00B050"/>
              </a:solidFill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77340788-1B58-46DF-8FE9-A7B34C98945B}"/>
              </a:ext>
            </a:extLst>
          </p:cNvPr>
          <p:cNvSpPr txBox="1">
            <a:spLocks/>
          </p:cNvSpPr>
          <p:nvPr/>
        </p:nvSpPr>
        <p:spPr bwMode="auto">
          <a:xfrm>
            <a:off x="400050" y="738472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1800" dirty="0"/>
              <a:t>Overall </a:t>
            </a:r>
            <a:r>
              <a:rPr lang="de-DE" sz="1800" dirty="0" err="1"/>
              <a:t>process</a:t>
            </a:r>
            <a:r>
              <a:rPr lang="de-DE" sz="1800" dirty="0"/>
              <a:t> </a:t>
            </a:r>
            <a:r>
              <a:rPr lang="de-DE" sz="1800" dirty="0" err="1"/>
              <a:t>analysis</a:t>
            </a:r>
            <a:r>
              <a:rPr lang="de-DE" sz="1800" dirty="0"/>
              <a:t> G007/ E10 – Beam Area RRF CR</a:t>
            </a:r>
            <a:r>
              <a:rPr lang="en-US" sz="1800" dirty="0"/>
              <a:t/>
            </a:r>
            <a:br>
              <a:rPr lang="en-US" sz="1800" dirty="0"/>
            </a:br>
            <a:endParaRPr lang="de-DE" sz="1800" kern="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80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0652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3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99E1D221-0B6F-40A8-BA81-E963546602C0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160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AA3CC9F4-C8EB-482E-A514-1FCCA9FBC31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60216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ED921599-7B2D-4D35-8D06-9F3A45527E4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57003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r Verbinder 106">
            <a:extLst>
              <a:ext uri="{FF2B5EF4-FFF2-40B4-BE49-F238E27FC236}">
                <a16:creationId xmlns:a16="http://schemas.microsoft.com/office/drawing/2014/main" id="{5C135B79-11AC-4F7A-897A-7701F39212C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9878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2EA2B1C5-6AFA-415B-877B-5CF58113EBB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1844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F87B34C-6D39-473B-854A-E9956488811F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94170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98FB413B-F8C0-44ED-B638-7A1E0A9C988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277971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r Verbinder 105">
            <a:extLst>
              <a:ext uri="{FF2B5EF4-FFF2-40B4-BE49-F238E27FC236}">
                <a16:creationId xmlns:a16="http://schemas.microsoft.com/office/drawing/2014/main" id="{A29003F4-FC19-4BDB-93EC-0C6AB5D56E1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39407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CAB70735-9DF6-4932-B234-4999E76C4DB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52165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E14D887F-D5D4-49D7-97B9-E76879347DF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81183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CA2DE0E-76B6-477A-AA0F-1BD7D20ED9A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42620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B6CA67C-D7B1-4597-A3CB-DCCDF3E7492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880268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r Verbinder 115">
            <a:extLst>
              <a:ext uri="{FF2B5EF4-FFF2-40B4-BE49-F238E27FC236}">
                <a16:creationId xmlns:a16="http://schemas.microsoft.com/office/drawing/2014/main" id="{DDC21DDD-623C-4DAB-BD76-C598D73B381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0199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88CE39CA-8A85-4F27-9C5D-3EF8CCA502E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7634288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7F73FB86-A9A3-4365-9206-601E0D6D44F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82486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6A053246-EE4D-42EC-BDED-057EAC24EDC9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01236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BA993A0D-9405-4946-9E02-8EC2D1FA838D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626725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836273B-91AF-4329-A04B-1D0E654FB2C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1220450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r Verbinder 108">
            <a:extLst>
              <a:ext uri="{FF2B5EF4-FFF2-40B4-BE49-F238E27FC236}">
                <a16:creationId xmlns:a16="http://schemas.microsoft.com/office/drawing/2014/main" id="{212F4999-734B-4F71-8FDA-9F04543C2EF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2449175" y="1600200"/>
            <a:ext cx="0" cy="59610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11C3B42-7713-4E24-A700-64196BA5331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834813" y="1600200"/>
            <a:ext cx="0" cy="59610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257E39C3-3CE3-4012-9642-48539BD6790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01638" y="1600200"/>
            <a:ext cx="0" cy="59610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DB804BFF-AF61-44DC-AC24-A5CC4C8FBB5E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401638" y="7561263"/>
            <a:ext cx="120475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ACA6CF99-76ED-43A2-875F-117B4DD48A4D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401638" y="1600200"/>
            <a:ext cx="12047538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AD5A81E6-9032-409B-8A82-E6BE08EF6E01}"/>
              </a:ext>
            </a:extLst>
          </p:cNvPr>
          <p:cNvSpPr/>
          <p:nvPr/>
        </p:nvSpPr>
        <p:spPr>
          <a:xfrm>
            <a:off x="416525" y="7879548"/>
            <a:ext cx="467487" cy="290527"/>
          </a:xfrm>
          <a:prstGeom prst="rect">
            <a:avLst/>
          </a:prstGeom>
          <a:solidFill>
            <a:srgbClr val="C00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90488" tIns="46038" rIns="0" bIns="46038" numCol="1" spcCol="0" anchor="ctr" anchorCtr="0" compatLnSpc="1">
            <a:prstTxWarp prst="textNoShape">
              <a:avLst/>
            </a:prstTxWarp>
            <a:noAutofit/>
          </a:bodyPr>
          <a:lstStyle/>
          <a:p>
            <a:pPr marL="120018" indent="-120018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</a:pPr>
            <a:endParaRPr lang="de-DE">
              <a:solidFill>
                <a:srgbClr val="00599D"/>
              </a:solidFill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D77FDD60-F658-4448-95DF-442B031D41D0}"/>
              </a:ext>
            </a:extLst>
          </p:cNvPr>
          <p:cNvSpPr txBox="1"/>
          <p:nvPr/>
        </p:nvSpPr>
        <p:spPr>
          <a:xfrm>
            <a:off x="913607" y="7930706"/>
            <a:ext cx="11496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GB"/>
            </a:defPPr>
            <a:lvl1pPr>
              <a:defRPr sz="1200">
                <a:latin typeface="+mn-lt"/>
              </a:defRPr>
            </a:lvl1pPr>
          </a:lstStyle>
          <a:p>
            <a:r>
              <a:rPr lang="de-DE" dirty="0"/>
              <a:t>Ring HF (RRF)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ED70B71B-934D-42BF-A793-B902650DE346}"/>
              </a:ext>
            </a:extLst>
          </p:cNvPr>
          <p:cNvSpPr>
            <a:spLocks noChangeAspect="1"/>
          </p:cNvSpPr>
          <p:nvPr/>
        </p:nvSpPr>
        <p:spPr>
          <a:xfrm>
            <a:off x="992918" y="2377724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lacing</a:t>
            </a:r>
            <a:r>
              <a:rPr lang="de-DE" sz="800" dirty="0">
                <a:solidFill>
                  <a:schemeClr val="bg1"/>
                </a:solidFill>
              </a:rPr>
              <a:t> 5 </a:t>
            </a:r>
            <a:r>
              <a:rPr lang="de-DE" sz="800" dirty="0" err="1">
                <a:solidFill>
                  <a:schemeClr val="bg1"/>
                </a:solidFill>
              </a:rPr>
              <a:t>cavitie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24" name="Titel 1">
            <a:extLst>
              <a:ext uri="{FF2B5EF4-FFF2-40B4-BE49-F238E27FC236}">
                <a16:creationId xmlns:a16="http://schemas.microsoft.com/office/drawing/2014/main" id="{8BCD934E-3D3B-4027-A29B-25045C433A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275" y="315595"/>
            <a:ext cx="12048172" cy="686753"/>
          </a:xfrm>
        </p:spPr>
        <p:txBody>
          <a:bodyPr/>
          <a:lstStyle/>
          <a:p>
            <a:r>
              <a:rPr lang="de-DE" sz="2800" dirty="0"/>
              <a:t>CR | </a:t>
            </a:r>
            <a:r>
              <a:rPr lang="de-DE" sz="2800" dirty="0" err="1"/>
              <a:t>Machine</a:t>
            </a:r>
            <a:r>
              <a:rPr lang="de-DE" sz="2800" dirty="0"/>
              <a:t> Installation</a:t>
            </a:r>
            <a:endParaRPr lang="de-DE" sz="2520" dirty="0">
              <a:solidFill>
                <a:srgbClr val="00B050"/>
              </a:solidFill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852F9F2A-DC58-4074-BA76-BE59AF082C10}"/>
              </a:ext>
            </a:extLst>
          </p:cNvPr>
          <p:cNvSpPr>
            <a:spLocks noChangeAspect="1"/>
          </p:cNvSpPr>
          <p:nvPr/>
        </p:nvSpPr>
        <p:spPr>
          <a:xfrm>
            <a:off x="992918" y="3034780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lacing</a:t>
            </a:r>
            <a:r>
              <a:rPr lang="de-DE" sz="800" dirty="0">
                <a:solidFill>
                  <a:schemeClr val="bg1"/>
                </a:solidFill>
              </a:rPr>
              <a:t> 5 </a:t>
            </a:r>
            <a:r>
              <a:rPr lang="de-DE" sz="800" dirty="0"/>
              <a:t>power </a:t>
            </a:r>
            <a:r>
              <a:rPr lang="de-DE" sz="800" dirty="0" err="1"/>
              <a:t>amplifier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88" name="Raute 187">
            <a:extLst>
              <a:ext uri="{FF2B5EF4-FFF2-40B4-BE49-F238E27FC236}">
                <a16:creationId xmlns:a16="http://schemas.microsoft.com/office/drawing/2014/main" id="{F561998A-8048-4487-AC0F-3E49AEF278E3}"/>
              </a:ext>
            </a:extLst>
          </p:cNvPr>
          <p:cNvSpPr/>
          <p:nvPr/>
        </p:nvSpPr>
        <p:spPr>
          <a:xfrm>
            <a:off x="5221753" y="3584818"/>
            <a:ext cx="864000" cy="864000"/>
          </a:xfrm>
          <a:prstGeom prst="diamond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total </a:t>
            </a:r>
            <a:r>
              <a:rPr lang="de-DE" sz="800" dirty="0" err="1">
                <a:solidFill>
                  <a:schemeClr val="tx1"/>
                </a:solidFill>
              </a:rPr>
              <a:t>integra-tion</a:t>
            </a:r>
            <a:endParaRPr lang="de-DE" sz="800" dirty="0">
              <a:solidFill>
                <a:schemeClr val="tx1"/>
              </a:solidFill>
              <a:effectLst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946CAD9-21E7-4AEB-B848-938666FEF1DC}"/>
              </a:ext>
            </a:extLst>
          </p:cNvPr>
          <p:cNvSpPr/>
          <p:nvPr/>
        </p:nvSpPr>
        <p:spPr>
          <a:xfrm>
            <a:off x="121489" y="1695255"/>
            <a:ext cx="2667747" cy="4904642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2000" dirty="0">
                <a:solidFill>
                  <a:schemeClr val="tx1"/>
                </a:solidFill>
              </a:rPr>
              <a:t>external </a:t>
            </a:r>
          </a:p>
          <a:p>
            <a:r>
              <a:rPr lang="de-DE" sz="2000" dirty="0" err="1">
                <a:solidFill>
                  <a:schemeClr val="tx1"/>
                </a:solidFill>
              </a:rPr>
              <a:t>execution</a:t>
            </a:r>
            <a:endParaRPr lang="de-DE" sz="2000" dirty="0">
              <a:solidFill>
                <a:schemeClr val="tx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BB15FA3-01B5-419D-90FA-D244D5D4C260}"/>
              </a:ext>
            </a:extLst>
          </p:cNvPr>
          <p:cNvSpPr>
            <a:spLocks noChangeAspect="1"/>
          </p:cNvSpPr>
          <p:nvPr/>
        </p:nvSpPr>
        <p:spPr>
          <a:xfrm>
            <a:off x="992918" y="3699206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lacing</a:t>
            </a:r>
            <a:r>
              <a:rPr lang="de-DE" sz="800" dirty="0">
                <a:solidFill>
                  <a:schemeClr val="bg1"/>
                </a:solidFill>
              </a:rPr>
              <a:t> 5 x 2 </a:t>
            </a:r>
            <a:r>
              <a:rPr lang="de-DE" sz="800" dirty="0" err="1">
                <a:solidFill>
                  <a:schemeClr val="bg1"/>
                </a:solidFill>
              </a:rPr>
              <a:t>Tetrode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5ED62677-28B4-4A49-AB05-332D584F20A6}"/>
              </a:ext>
            </a:extLst>
          </p:cNvPr>
          <p:cNvSpPr>
            <a:spLocks noChangeAspect="1"/>
          </p:cNvSpPr>
          <p:nvPr/>
        </p:nvSpPr>
        <p:spPr>
          <a:xfrm>
            <a:off x="992918" y="504303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lacing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water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distributor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6EE1A13D-8D74-4B94-982D-92F58129EFA8}"/>
              </a:ext>
            </a:extLst>
          </p:cNvPr>
          <p:cNvSpPr>
            <a:spLocks noChangeAspect="1"/>
          </p:cNvSpPr>
          <p:nvPr/>
        </p:nvSpPr>
        <p:spPr>
          <a:xfrm>
            <a:off x="992918" y="4374452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Placing</a:t>
            </a:r>
            <a:r>
              <a:rPr lang="de-DE" sz="800" dirty="0">
                <a:solidFill>
                  <a:schemeClr val="bg1"/>
                </a:solidFill>
              </a:rPr>
              <a:t> 3 Interface- </a:t>
            </a:r>
            <a:r>
              <a:rPr lang="de-DE" sz="800" dirty="0" err="1">
                <a:solidFill>
                  <a:schemeClr val="bg1"/>
                </a:solidFill>
              </a:rPr>
              <a:t>racks</a:t>
            </a:r>
            <a:r>
              <a:rPr lang="de-DE" sz="800" dirty="0">
                <a:solidFill>
                  <a:schemeClr val="bg1"/>
                </a:solidFill>
              </a:rPr>
              <a:t> (wall)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546B2624-9F7B-462B-A0EB-44ECFD198418}"/>
              </a:ext>
            </a:extLst>
          </p:cNvPr>
          <p:cNvSpPr>
            <a:spLocks noChangeAspect="1"/>
          </p:cNvSpPr>
          <p:nvPr/>
        </p:nvSpPr>
        <p:spPr>
          <a:xfrm>
            <a:off x="1584397" y="504303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Connec-ting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water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distributor</a:t>
            </a:r>
            <a:r>
              <a:rPr lang="de-DE" sz="800" dirty="0">
                <a:solidFill>
                  <a:schemeClr val="bg1"/>
                </a:solidFill>
              </a:rPr>
              <a:t>.(</a:t>
            </a:r>
            <a:r>
              <a:rPr lang="de-DE" sz="800" dirty="0" err="1">
                <a:solidFill>
                  <a:schemeClr val="bg1"/>
                </a:solidFill>
              </a:rPr>
              <a:t>to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system</a:t>
            </a:r>
            <a:r>
              <a:rPr lang="de-DE" sz="8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E8736DE9-A9D2-494A-97EC-140E3E655FA0}"/>
              </a:ext>
            </a:extLst>
          </p:cNvPr>
          <p:cNvSpPr>
            <a:spLocks noChangeAspect="1"/>
          </p:cNvSpPr>
          <p:nvPr/>
        </p:nvSpPr>
        <p:spPr>
          <a:xfrm>
            <a:off x="1584397" y="5707189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800" dirty="0" err="1">
                <a:solidFill>
                  <a:schemeClr val="bg1"/>
                </a:solidFill>
              </a:rPr>
              <a:t>Connec-ting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water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distributor</a:t>
            </a:r>
            <a:r>
              <a:rPr lang="de-DE" sz="800" dirty="0">
                <a:solidFill>
                  <a:schemeClr val="bg1"/>
                </a:solidFill>
              </a:rPr>
              <a:t>.(</a:t>
            </a:r>
            <a:r>
              <a:rPr lang="de-DE" sz="800" dirty="0" err="1">
                <a:solidFill>
                  <a:schemeClr val="bg1"/>
                </a:solidFill>
              </a:rPr>
              <a:t>to</a:t>
            </a:r>
            <a:r>
              <a:rPr lang="de-DE" sz="800" dirty="0">
                <a:solidFill>
                  <a:schemeClr val="bg1"/>
                </a:solidFill>
              </a:rPr>
              <a:t> </a:t>
            </a:r>
            <a:r>
              <a:rPr lang="de-DE" sz="800" dirty="0" err="1">
                <a:solidFill>
                  <a:schemeClr val="bg1"/>
                </a:solidFill>
              </a:rPr>
              <a:t>compo-nents</a:t>
            </a:r>
            <a:r>
              <a:rPr lang="de-DE" sz="8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8" name="Sprechblase: rechteckig mit abgerundeten Ecken 87">
            <a:extLst>
              <a:ext uri="{FF2B5EF4-FFF2-40B4-BE49-F238E27FC236}">
                <a16:creationId xmlns:a16="http://schemas.microsoft.com/office/drawing/2014/main" id="{F8CA6C57-F125-4F54-BCCD-35165263D245}"/>
              </a:ext>
            </a:extLst>
          </p:cNvPr>
          <p:cNvSpPr/>
          <p:nvPr/>
        </p:nvSpPr>
        <p:spPr>
          <a:xfrm>
            <a:off x="175657" y="5875268"/>
            <a:ext cx="1360347" cy="531175"/>
          </a:xfrm>
          <a:prstGeom prst="wedgeRoundRectCallout">
            <a:avLst>
              <a:gd name="adj1" fmla="val 53559"/>
              <a:gd name="adj2" fmla="val -82827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To central water system/ to components (lay hoses)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FAADB262-0BE1-437F-82F2-AD8CE54D03C0}"/>
              </a:ext>
            </a:extLst>
          </p:cNvPr>
          <p:cNvSpPr>
            <a:spLocks noChangeAspect="1"/>
          </p:cNvSpPr>
          <p:nvPr/>
        </p:nvSpPr>
        <p:spPr>
          <a:xfrm>
            <a:off x="1581809" y="2377724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Alignment of 5 cavities on Blue-/ Beamlin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2DA2A0AA-C1EF-4D8B-9C80-5445050DCF62}"/>
              </a:ext>
            </a:extLst>
          </p:cNvPr>
          <p:cNvSpPr>
            <a:spLocks noChangeAspect="1"/>
          </p:cNvSpPr>
          <p:nvPr/>
        </p:nvSpPr>
        <p:spPr>
          <a:xfrm>
            <a:off x="2185056" y="2377724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err="1">
                <a:solidFill>
                  <a:schemeClr val="bg1"/>
                </a:solidFill>
              </a:rPr>
              <a:t>Connec-tion</a:t>
            </a:r>
            <a:r>
              <a:rPr lang="en-US" sz="800" dirty="0">
                <a:solidFill>
                  <a:schemeClr val="bg1"/>
                </a:solidFill>
              </a:rPr>
              <a:t> of  cavities to VAC (CF flange)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C23B6EF9-257D-4BB8-85A5-79C176FBA301}"/>
              </a:ext>
            </a:extLst>
          </p:cNvPr>
          <p:cNvSpPr>
            <a:spLocks noChangeAspect="1"/>
          </p:cNvSpPr>
          <p:nvPr/>
        </p:nvSpPr>
        <p:spPr>
          <a:xfrm>
            <a:off x="2784804" y="4374452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able connection to</a:t>
            </a:r>
            <a:r>
              <a:rPr lang="de-DE" sz="800" dirty="0">
                <a:solidFill>
                  <a:schemeClr val="bg1"/>
                </a:solidFill>
              </a:rPr>
              <a:t> Inter-</a:t>
            </a:r>
            <a:r>
              <a:rPr lang="de-DE" sz="800" dirty="0" err="1">
                <a:solidFill>
                  <a:schemeClr val="bg1"/>
                </a:solidFill>
              </a:rPr>
              <a:t>facerack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843A603F-463D-47CB-8458-00A6EDD6F592}"/>
              </a:ext>
            </a:extLst>
          </p:cNvPr>
          <p:cNvSpPr>
            <a:spLocks noChangeAspect="1"/>
          </p:cNvSpPr>
          <p:nvPr/>
        </p:nvSpPr>
        <p:spPr>
          <a:xfrm>
            <a:off x="2784804" y="2377723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onnection of cables to cavitie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403CDEAD-E73F-4453-A08D-88F2643877C0}"/>
              </a:ext>
            </a:extLst>
          </p:cNvPr>
          <p:cNvSpPr>
            <a:spLocks noChangeAspect="1"/>
          </p:cNvSpPr>
          <p:nvPr/>
        </p:nvSpPr>
        <p:spPr>
          <a:xfrm>
            <a:off x="2784804" y="3029350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able connection to power amplifiers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7965570-7396-4EFF-9321-E7991EE32296}"/>
              </a:ext>
            </a:extLst>
          </p:cNvPr>
          <p:cNvSpPr>
            <a:spLocks noChangeAspect="1"/>
          </p:cNvSpPr>
          <p:nvPr/>
        </p:nvSpPr>
        <p:spPr>
          <a:xfrm>
            <a:off x="2784804" y="3705028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able connection to</a:t>
            </a:r>
            <a:r>
              <a:rPr lang="de-DE" sz="800" dirty="0">
                <a:solidFill>
                  <a:schemeClr val="bg1"/>
                </a:solidFill>
              </a:rPr>
              <a:t> Low Level Racks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9BE55A05-8939-421D-9168-9CD9CA078F45}"/>
              </a:ext>
            </a:extLst>
          </p:cNvPr>
          <p:cNvSpPr>
            <a:spLocks noChangeAspect="1"/>
          </p:cNvSpPr>
          <p:nvPr/>
        </p:nvSpPr>
        <p:spPr>
          <a:xfrm>
            <a:off x="2784804" y="5043961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able connection to power supply units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01" name="Sprechblase: rechteckig mit abgerundeten Ecken 100">
            <a:extLst>
              <a:ext uri="{FF2B5EF4-FFF2-40B4-BE49-F238E27FC236}">
                <a16:creationId xmlns:a16="http://schemas.microsoft.com/office/drawing/2014/main" id="{13F2C399-5643-413B-A477-36B9D340CBD9}"/>
              </a:ext>
            </a:extLst>
          </p:cNvPr>
          <p:cNvSpPr/>
          <p:nvPr/>
        </p:nvSpPr>
        <p:spPr>
          <a:xfrm>
            <a:off x="3586944" y="4434078"/>
            <a:ext cx="741305" cy="219804"/>
          </a:xfrm>
          <a:prstGeom prst="wedgeRoundRectCallout">
            <a:avLst>
              <a:gd name="adj1" fmla="val -80454"/>
              <a:gd name="adj2" fmla="val 273626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dirty="0">
                <a:solidFill>
                  <a:schemeClr val="bg1"/>
                </a:solidFill>
              </a:rPr>
              <a:t>Durch wen?</a:t>
            </a:r>
          </a:p>
        </p:txBody>
      </p:sp>
      <p:sp>
        <p:nvSpPr>
          <p:cNvPr id="102" name="Sprechblase: rechteckig mit abgerundeten Ecken 101">
            <a:extLst>
              <a:ext uri="{FF2B5EF4-FFF2-40B4-BE49-F238E27FC236}">
                <a16:creationId xmlns:a16="http://schemas.microsoft.com/office/drawing/2014/main" id="{D1465583-F876-4A5E-B008-6C9CA486F407}"/>
              </a:ext>
            </a:extLst>
          </p:cNvPr>
          <p:cNvSpPr/>
          <p:nvPr/>
        </p:nvSpPr>
        <p:spPr>
          <a:xfrm>
            <a:off x="3435927" y="4324896"/>
            <a:ext cx="1019346" cy="327591"/>
          </a:xfrm>
          <a:prstGeom prst="wedgeRoundRectCallout">
            <a:avLst>
              <a:gd name="adj1" fmla="val -63311"/>
              <a:gd name="adj2" fmla="val -96363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By whom? (see action list ID 2)</a:t>
            </a:r>
            <a:endParaRPr lang="de-DE" sz="1000" dirty="0">
              <a:solidFill>
                <a:schemeClr val="bg1"/>
              </a:solidFill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2CE10354-B207-454F-A989-E2395A6C4D50}"/>
              </a:ext>
            </a:extLst>
          </p:cNvPr>
          <p:cNvSpPr>
            <a:spLocks noChangeAspect="1"/>
          </p:cNvSpPr>
          <p:nvPr/>
        </p:nvSpPr>
        <p:spPr>
          <a:xfrm>
            <a:off x="4607118" y="3699206"/>
            <a:ext cx="604180" cy="623581"/>
          </a:xfrm>
          <a:prstGeom prst="rect">
            <a:avLst/>
          </a:prstGeom>
          <a:solidFill>
            <a:srgbClr val="C00000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00" tIns="50400" rIns="50400" bIns="504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Installation of tetrodes in power amplifier</a:t>
            </a:r>
            <a:endParaRPr lang="de-DE" sz="800" dirty="0">
              <a:solidFill>
                <a:schemeClr val="bg1"/>
              </a:solidFill>
            </a:endParaRPr>
          </a:p>
        </p:txBody>
      </p:sp>
      <p:sp>
        <p:nvSpPr>
          <p:cNvPr id="117" name="Sprechblase: rechteckig mit abgerundeten Ecken 116">
            <a:extLst>
              <a:ext uri="{FF2B5EF4-FFF2-40B4-BE49-F238E27FC236}">
                <a16:creationId xmlns:a16="http://schemas.microsoft.com/office/drawing/2014/main" id="{3FB3508C-0B59-4569-BEB2-0CCB69229C67}"/>
              </a:ext>
            </a:extLst>
          </p:cNvPr>
          <p:cNvSpPr/>
          <p:nvPr/>
        </p:nvSpPr>
        <p:spPr>
          <a:xfrm>
            <a:off x="4729187" y="4493242"/>
            <a:ext cx="3094949" cy="603511"/>
          </a:xfrm>
          <a:prstGeom prst="wedgeRoundRectCallout">
            <a:avLst>
              <a:gd name="adj1" fmla="val -37977"/>
              <a:gd name="adj2" fmla="val -91373"/>
              <a:gd name="adj3" fmla="val 16667"/>
            </a:avLst>
          </a:prstGeom>
          <a:solidFill>
            <a:srgbClr val="00B0F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en-US" sz="1000" dirty="0">
                <a:solidFill>
                  <a:schemeClr val="bg1"/>
                </a:solidFill>
              </a:rPr>
              <a:t>- Lifting device required</a:t>
            </a:r>
          </a:p>
          <a:p>
            <a:r>
              <a:rPr lang="en-US" sz="1000" dirty="0">
                <a:solidFill>
                  <a:schemeClr val="bg1"/>
                </a:solidFill>
              </a:rPr>
              <a:t>- special care, tetrodes are very sensitive, therefore installation shortly before total/ final integration</a:t>
            </a:r>
            <a:endParaRPr lang="de-DE" sz="1000" dirty="0">
              <a:solidFill>
                <a:schemeClr val="bg1"/>
              </a:solidFill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0A86992B-3215-4DB3-9B96-0CCA7610BD1D}"/>
              </a:ext>
            </a:extLst>
          </p:cNvPr>
          <p:cNvCxnSpPr/>
          <p:nvPr/>
        </p:nvCxnSpPr>
        <p:spPr>
          <a:xfrm flipH="1">
            <a:off x="-1250050" y="2377723"/>
            <a:ext cx="46390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itel 1">
            <a:extLst>
              <a:ext uri="{FF2B5EF4-FFF2-40B4-BE49-F238E27FC236}">
                <a16:creationId xmlns:a16="http://schemas.microsoft.com/office/drawing/2014/main" id="{BBA2D738-7662-475D-8392-3778C4F3E7CD}"/>
              </a:ext>
            </a:extLst>
          </p:cNvPr>
          <p:cNvSpPr txBox="1">
            <a:spLocks/>
          </p:cNvSpPr>
          <p:nvPr/>
        </p:nvSpPr>
        <p:spPr bwMode="auto">
          <a:xfrm>
            <a:off x="400050" y="738472"/>
            <a:ext cx="12048172" cy="686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1800" dirty="0"/>
              <a:t>Overall </a:t>
            </a:r>
            <a:r>
              <a:rPr lang="de-DE" sz="1800" dirty="0" err="1"/>
              <a:t>process</a:t>
            </a:r>
            <a:r>
              <a:rPr lang="de-DE" sz="1800" dirty="0"/>
              <a:t> </a:t>
            </a:r>
            <a:r>
              <a:rPr lang="de-DE" sz="1800" dirty="0" err="1"/>
              <a:t>analysis</a:t>
            </a:r>
            <a:r>
              <a:rPr lang="de-DE" sz="1800" dirty="0"/>
              <a:t> G007/ E10 – Beam Area RRF CR</a:t>
            </a:r>
            <a:r>
              <a:rPr lang="en-US" sz="1800" dirty="0"/>
              <a:t/>
            </a:r>
            <a:br>
              <a:rPr lang="en-US" sz="1800" dirty="0"/>
            </a:br>
            <a:endParaRPr lang="de-DE" sz="1800" kern="0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026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7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2.78559000000000001052E+00&quot;&gt;&lt;m_msothmcolidx val=&quot;0&quot;/&gt;&lt;m_rgb r=&quot;00&quot; g=&quot;B0&quot; b=&quot;50&quot;/&gt;&lt;m_nBrightness endver=&quot;26206&quot; val=&quot;0&quot;/&gt;&lt;/elem&gt;&lt;elem m_fUsage=&quot;2.43144100000000040751E+00&quot;&gt;&lt;m_msothmcolidx val=&quot;0&quot;/&gt;&lt;m_rgb r=&quot;00&quot; g=&quot;70&quot; b=&quot;C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Ot2M3HWrVGdf9pzd_D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yuv3HqTTarFXE0ryrI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fgT2AkLjxWJDX8AETr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s_RYniR1wEx75_gAOS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6cO27rFkdp81eJEKUY9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QA3PxoWhVtim67Hu6w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0eIu6tq46gi5mMRvPKD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p6mp2E7Z1UIro6O9Bk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1hmvDY6OBiKLs5soF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YsoWS3Vge3xLHd88J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zWVkns3tsLCRByRKG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BMMPRL37olJWlwp5nhp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HEWIBenN.q9xVDMcgR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bS1AWkI6psn6jJOX9I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8AdKZ4NuXw.1OGc6lx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s5ASMM2fpUgcB1PkQ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GcaAmYIa0cEjhxMo7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pJmPaJ9OlR5mJMKunK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Io6_j3ZyRLs85jTMckB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a22i.NFzZ45.t29zTT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ueNo7SYWs_4Fw25JQ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qYmI7HTNypGuNYQtXG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kgCK62STWJERNw_so_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Ot2M3HWrVGdf9pzd_D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BMMPRL37olJWlwp5nh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6cO27rFkdp81eJEKUY9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s_RYniR1wEx75_gAOS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p6mp2E7Z1UIro6O9Bk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GcaAmYIa0cEjhxMo7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0eIu6tq46gi5mMRvPKD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YsoWS3Vge3xLHd88J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pzWVkns3tsLCRByRKG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QA3PxoWhVtim67Hu6w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1hmvDY6OBiKLs5soF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s5ASMM2fpUgcB1PkQ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HEWIBenN.q9xVDMcgR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bS1AWkI6psn6jJOX9I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8AdKZ4NuXw.1OGc6lx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kpJmPaJ9OlR5mJMKun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Io6_j3ZyRLs85jTMckB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a22i.NFzZ45.t29zTT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yuv3HqTTarFXE0ryrI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fgT2AkLjxWJDX8AETr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CueNo7SYWs_4Fw25JQ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qYmI7HTNypGuNYQtXG3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kgCK62STWJERNw_so_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RfSZZ3PId5gyHFNf.y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heme/theme1.xml><?xml version="1.0" encoding="utf-8"?>
<a:theme xmlns:a="http://schemas.openxmlformats.org/drawingml/2006/main" name="Talks2013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Ganym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_FAIRtalks2014_2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2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Talks2012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Ganym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4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Talks2012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Ganym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4_Standarddesign">
  <a:themeElements>
    <a:clrScheme name="4_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7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8_Benutzerdefiniertes Design">
  <a:themeElements>
    <a:clrScheme name="2_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Benutzerdefiniertes Desig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Standarddesign">
  <a:themeElements>
    <a:clrScheme name="4_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9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0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FAIRtalks2014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9_Benutzerdefiniertes Design">
  <a:themeElements>
    <a:clrScheme name="9_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9_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alks2012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Ganym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0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Talks2013">
  <a:themeElements>
    <a:clrScheme name="Ganymed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Repor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Ganymed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2</Words>
  <Application>Microsoft Office PowerPoint</Application>
  <PresentationFormat>A3 Paper (297x420 mm)</PresentationFormat>
  <Paragraphs>9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7" baseType="lpstr">
      <vt:lpstr>MS PGothic</vt:lpstr>
      <vt:lpstr>MS PGothic</vt:lpstr>
      <vt:lpstr>Arial</vt:lpstr>
      <vt:lpstr>Arial Narrow</vt:lpstr>
      <vt:lpstr>Calibri</vt:lpstr>
      <vt:lpstr>Times New Roman</vt:lpstr>
      <vt:lpstr>Verdana</vt:lpstr>
      <vt:lpstr>Wingdings</vt:lpstr>
      <vt:lpstr>Talks2013</vt:lpstr>
      <vt:lpstr>Benutzerdefiniertes Design</vt:lpstr>
      <vt:lpstr>9_Benutzerdefiniertes Design</vt:lpstr>
      <vt:lpstr>2_Talks2012</vt:lpstr>
      <vt:lpstr>1_Benutzerdefiniertes Design</vt:lpstr>
      <vt:lpstr>2_Template_FAIR_Power_Point</vt:lpstr>
      <vt:lpstr>6_Benutzerdefiniertes Design</vt:lpstr>
      <vt:lpstr>10_Benutzerdefiniertes Design</vt:lpstr>
      <vt:lpstr>2_Talks2013</vt:lpstr>
      <vt:lpstr>11_Benutzerdefiniertes Design</vt:lpstr>
      <vt:lpstr>1_FAIRtalks2014_2</vt:lpstr>
      <vt:lpstr>12_Benutzerdefiniertes Design</vt:lpstr>
      <vt:lpstr>Talks2012</vt:lpstr>
      <vt:lpstr>4_Template_FAIR_Power_Point</vt:lpstr>
      <vt:lpstr>1_Talks2012</vt:lpstr>
      <vt:lpstr>4_Standarddesign</vt:lpstr>
      <vt:lpstr>7_Template_FAIR_Power_Point</vt:lpstr>
      <vt:lpstr>18_Benutzerdefiniertes Design</vt:lpstr>
      <vt:lpstr>5_Standarddesign</vt:lpstr>
      <vt:lpstr>9_Template_FAIR_Power_Point</vt:lpstr>
      <vt:lpstr>10_Template_FAIR_Power_Point</vt:lpstr>
      <vt:lpstr>FAIRtalks2014</vt:lpstr>
      <vt:lpstr>think-cell Folie</vt:lpstr>
      <vt:lpstr>CR BINP-Workshop 21.05.2019  Overall process analysis machine installation CR  </vt:lpstr>
      <vt:lpstr>CR | Einbringen der Maschine - Machine Installation</vt:lpstr>
      <vt:lpstr>CR | Machine Installation</vt:lpstr>
      <vt:lpstr>CR | Machine Installation</vt:lpstr>
      <vt:lpstr>CR | Machine Installation</vt:lpstr>
      <vt:lpstr>CR | Machine Install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tatus</dc:title>
  <dc:subject>AFC 10</dc:subject>
  <dc:creator>Frank Becker</dc:creator>
  <cp:lastModifiedBy>Hagelskamp, Harald</cp:lastModifiedBy>
  <cp:revision>2098</cp:revision>
  <cp:lastPrinted>2019-03-18T08:32:21Z</cp:lastPrinted>
  <dcterms:created xsi:type="dcterms:W3CDTF">2006-03-05T18:10:42Z</dcterms:created>
  <dcterms:modified xsi:type="dcterms:W3CDTF">2019-06-05T09:57:35Z</dcterms:modified>
</cp:coreProperties>
</file>